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</p:sldMasterIdLst>
  <p:notesMasterIdLst>
    <p:notesMasterId r:id="rId19"/>
  </p:notesMasterIdLst>
  <p:handoutMasterIdLst>
    <p:handoutMasterId r:id="rId20"/>
  </p:handoutMasterIdLst>
  <p:sldIdLst>
    <p:sldId id="400" r:id="rId5"/>
    <p:sldId id="392" r:id="rId6"/>
    <p:sldId id="473" r:id="rId7"/>
    <p:sldId id="529" r:id="rId8"/>
    <p:sldId id="535" r:id="rId9"/>
    <p:sldId id="266" r:id="rId10"/>
    <p:sldId id="500" r:id="rId11"/>
    <p:sldId id="501" r:id="rId12"/>
    <p:sldId id="537" r:id="rId13"/>
    <p:sldId id="503" r:id="rId14"/>
    <p:sldId id="538" r:id="rId15"/>
    <p:sldId id="536" r:id="rId16"/>
    <p:sldId id="539" r:id="rId17"/>
    <p:sldId id="540" r:id="rId18"/>
  </p:sldIdLst>
  <p:sldSz cx="12192000" cy="6858000"/>
  <p:notesSz cx="6797675" cy="9926638"/>
  <p:custDataLst>
    <p:tags r:id="rId21"/>
  </p:custDataLst>
  <p:defaultTextStyle>
    <a:defPPr>
      <a:defRPr lang="en-US"/>
    </a:defPPr>
    <a:lvl1pPr marL="0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26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53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879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05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131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758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384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010" algn="l" defTabSz="548626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D4D"/>
    <a:srgbClr val="F26E4E"/>
    <a:srgbClr val="00C9B4"/>
    <a:srgbClr val="66DFD2"/>
    <a:srgbClr val="F7A895"/>
    <a:srgbClr val="CCF4F0"/>
    <a:srgbClr val="1D274E"/>
    <a:srgbClr val="33D4C3"/>
    <a:srgbClr val="F58B71"/>
    <a:srgbClr val="FFF5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95" autoAdjust="0"/>
    <p:restoredTop sz="90879" autoAdjust="0"/>
  </p:normalViewPr>
  <p:slideViewPr>
    <p:cSldViewPr snapToGrid="0" snapToObjects="1">
      <p:cViewPr>
        <p:scale>
          <a:sx n="81" d="100"/>
          <a:sy n="81" d="100"/>
        </p:scale>
        <p:origin x="259" y="6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362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042321-DA6A-3F47-B6B5-D5EB231B4AC7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606DE2-6452-4546-B236-C0543F941E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8682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856893-8BA0-6B40-9D5F-161D6B76E510}" type="datetimeFigureOut">
              <a:rPr lang="en-US" smtClean="0"/>
              <a:t>6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CB345C-6312-4D46-8932-138B2D7B96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61422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1pPr>
    <a:lvl2pPr marL="548626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2pPr>
    <a:lvl3pPr marL="1097253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3pPr>
    <a:lvl4pPr marL="1645879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4pPr>
    <a:lvl5pPr marL="2194505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5pPr>
    <a:lvl6pPr marL="2743131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758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384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9010" algn="l" defTabSz="548626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38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85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лючевыми проблемами российской космической/оборонной промышленности являются не технологическое отставание и износ оборудования, а устаревшие вертикально-интегрированные модели управления и нехватка ключевых управленческих компетенций. 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выражается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возьмем для примера некое крупное предприятие производящее радиоэлектронную аппаратуру в рамках ОКР. Общедоступные ресурсы - это 20-30 цехов с сотнями мест выполнения операций, 10-20 служб по 5-7 согласующих и 20-30 тематических конструкторских подразделений, которых они должны обслуживать. Что печально - так это одна ПДС, хотя сути это не меняет - даже если их будет 10. Поясню.  На таких предприятиях необходимо планировать и согласовать маршрут прохождения заранее - а это десятки операций, точно планировать дату и время каждой операции, будет зарезервирован тайм-слот нужного оборудования (например, испытательной камеры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ибр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стенда), будет приглашен нужный специалист, поднесена со склада оснастка, получены дорогущие комплектующие, приглашены представители ОТК и ВП, они тоже должны спланировать свою работу.  А что если кто-то из них будет внезапно отвлечен на совещание, а если сломается станок, а если что-то пойдет не по плану, а если что-то сломается на испытаниях, да и просто нужный человек не окажется на своем рабочем месте?  Все собьется, не попадая в свой тайм-слот нужно будет ждать следующего свободного, который спланируют при следующей итерации планирования. Учитывая, что цеховое планирование выполняется в среднем с горизонтом в 1-2 недели, общезаводское планирование - 1 раз в квартал и  некоторые производственные линии нагружены на ближайшие месяцы - можно ждать долго, что еще хуже - другие не попавшие в свои тайм-слоты по своим причинам заказы тоже будут претендовать согласно приоритета на ближайшие тайм-слоты. А дальше хуже - выясниться что стенд свободен, оснастка есть, мастер есть, ВП - нет или срок перепроверки чего-нить вышел.  Итого - прекращается планирование как таковое, живая очередь, все ждут,  держат очередь, ругань, личные договоренности, спекуляция, прямое директивное управление от высокого руководства. И все тушат пожары… 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роки ползут, ФОТ уходит, себестоимость растет, угасает желание что-то делать лучше или быстрее…  Я сэкономил месяц на рациональном планировании ресурсов внутри подразделения, но потерял 7 месяцев на плохо организованном производстве составной части. И у меня встал вопрос - а зачем вообще что-то ускорять и оптимизировать.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Жаль, но это еще есть на предприятиях ОПК. В большей степени - люди, они наиболее не поддающиеся планированию. В отличии от техники люди иррациональны и непредсказуемы, получают или теряют мотивацию - тут их просчитать или вычислить далеко не просто. Срабатывает все - и человеческий фактор, начиная от "забыл", до "не предоставили, а я вот говорил", заканчивая личными обидами, завистью и выстраивания своего управления на других сотрудников пользуясь властью локально приоритезировать выполнение заказов, рассматривать документы в приоритетном порядке, строго или не очень строго, имитируя высокую загруженность и т.д. 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едстви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рост себестоимости, демотивация среднего менеджмента и высококвалифицированных сотрудников, снижение отдачи и затягивание сроков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того (проблемы)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орость перепланирования не соответствует скорости изменений, разрыв очень большой - отсюда не лучшая эффективность. Потери до 50%.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т эффективного планирования и учета трудоемкости - трудно управлять через трудоемкость, часто бывают коллизии и простои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нутренний рынок ресурсов - это монополии по видам услуг, с непрозрачной загруженностью. Качество может падать, стоимость точно растет - естественная цель монополии.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нижается мотивация к росту эффективности, сопротивление повышению прозрачност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014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25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753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459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0232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403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лючевыми проблемами российской космической/оборонной промышленности являются не технологическое отставание и износ оборудования, а устаревшие вертикально-интегрированные модели управления и нехватка ключевых управленческих компетенций. 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к выражается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возьмем для примера некое крупное предприятие производящее радиоэлектронную аппаратуру в рамках ОКР. Общедоступные ресурсы - это 20-30 цехов с сотнями мест выполнения операций, 10-20 служб по 5-7 согласующих и 20-30 тематических конструкторских подразделений, которых они должны обслуживать. Что печально - так это одна ПДС, хотя сути это не меняет - даже если их будет 10. Поясню.  На таких предприятиях необходимо планировать и согласовать маршрут прохождения заранее - а это десятки операций, точно планировать дату и время каждой операции, будет зарезервирован тайм-слот нужного оборудования (например, испытательной камеры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ибро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стенда), будет приглашен нужный специалист, поднесена со склада оснастка, получены дорогущие комплектующие, приглашены представители ОТК и ВП, они тоже должны спланировать свою работу.  А что если кто-то из них будет внезапно отвлечен на совещание, а если сломается станок, а если что-то пойдет не по плану, а если что-то сломается на испытаниях, да и просто нужный человек не окажется на своем рабочем месте?  Все собьется, не попадая в свой тайм-слот нужно будет ждать следующего свободного, который спланируют при следующей итерации планирования. Учитывая, что цеховое планирование выполняется в среднем с горизонтом в 1-2 недели, общезаводское планирование - 1 раз в квартал и  некоторые производственные линии нагружены на ближайшие месяцы - можно ждать долго, что еще хуже - другие не попавшие в свои тайм-слоты по своим причинам заказы тоже будут претендовать согласно приоритета на ближайшие тайм-слоты. А дальше хуже - выясниться что стенд свободен, оснастка есть, мастер есть, ВП - нет или срок перепроверки чего-нить вышел.  Итого - прекращается планирование как таковое, живая очередь, все ждут,  держат очередь, ругань, личные договоренности, спекуляция, прямое директивное управление от высокого руководства. И все тушат пожары… 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роки ползут, ФОТ уходит, себестоимость растет, угасает желание что-то делать лучше или быстрее…  Я сэкономил месяц на рациональном планировании ресурсов внутри подразделения, но потерял 7 месяцев на плохо организованном производстве составной части. И у меня встал вопрос - а зачем вообще что-то ускорять и оптимизировать.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Жаль, но это еще есть на предприятиях ОПК. В большей степени - люди, они наиболее не поддающиеся планированию. В отличии от техники люди иррациональны и непредсказуемы, получают или теряют мотивацию - тут их просчитать или вычислить далеко не просто. Срабатывает все - и человеческий фактор, начиная от "забыл", до "не предоставили, а я вот говорил", заканчивая личными обидами, завистью и выстраивания своего управления на других сотрудников пользуясь властью локально приоритезировать выполнение заказов, рассматривать документы в приоритетном порядке, строго или не очень строго, имитируя высокую загруженность и т.д. 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едстви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рост себестоимости, демотивация среднего менеджмента и высококвалифицированных сотрудников, снижение отдачи и затягивание сроков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x-none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того (проблемы)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корость перепланирования не соответствует скорости изменений, разрыв очень большой - отсюда не лучшая эффективность. Потери до 50%.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т эффективного планирования и учета трудоемкости - трудно управлять через трудоемкость, часто бывают коллизии и простои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нутренний рынок ресурсов - это монополии по видам услуг, с непрозрачной загруженностью. Качество может падать, стоимость точно растет - естественная цель монополии.</a:t>
            </a:r>
          </a:p>
          <a:p>
            <a:pPr rtl="0" fontAlgn="ctr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нижается мотивация к росту эффективности, сопротивление повышению прозрачност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5090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B345C-6312-4D46-8932-138B2D7B967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3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5715000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4572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144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3716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18288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22860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27432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32004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36576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41148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45720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50292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54864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59436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64008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68580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73152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77724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2296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8686800" y="0"/>
              <a:ext cx="457200" cy="57150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160"/>
            </a:p>
          </p:txBody>
        </p:sp>
      </p:grp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" y="457203"/>
            <a:ext cx="3048000" cy="606056"/>
          </a:xfrm>
          <a:prstGeom prst="rect">
            <a:avLst/>
          </a:prstGeom>
        </p:spPr>
      </p:pic>
      <p:sp>
        <p:nvSpPr>
          <p:cNvPr id="30" name="Rectangle 29"/>
          <p:cNvSpPr/>
          <p:nvPr userDrawn="1"/>
        </p:nvSpPr>
        <p:spPr>
          <a:xfrm rot="5400000">
            <a:off x="3535680" y="-3545840"/>
            <a:ext cx="548640" cy="762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31" name="Rectangle 30"/>
          <p:cNvSpPr/>
          <p:nvPr userDrawn="1"/>
        </p:nvSpPr>
        <p:spPr>
          <a:xfrm rot="5400000">
            <a:off x="3535680" y="-2482585"/>
            <a:ext cx="548640" cy="762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32" name="Rectangle 31"/>
          <p:cNvSpPr/>
          <p:nvPr userDrawn="1"/>
        </p:nvSpPr>
        <p:spPr>
          <a:xfrm rot="5400000">
            <a:off x="3535680" y="2763520"/>
            <a:ext cx="548640" cy="762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33" name="Rectangle 32"/>
          <p:cNvSpPr/>
          <p:nvPr userDrawn="1"/>
        </p:nvSpPr>
        <p:spPr>
          <a:xfrm rot="5400000">
            <a:off x="3535680" y="2214880"/>
            <a:ext cx="548640" cy="762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34" name="Rectangle 33"/>
          <p:cNvSpPr/>
          <p:nvPr userDrawn="1"/>
        </p:nvSpPr>
        <p:spPr>
          <a:xfrm rot="5400000">
            <a:off x="3535680" y="1666240"/>
            <a:ext cx="548640" cy="762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39" name="Rectangle 38"/>
          <p:cNvSpPr/>
          <p:nvPr userDrawn="1"/>
        </p:nvSpPr>
        <p:spPr>
          <a:xfrm rot="5400000">
            <a:off x="3535680" y="1117600"/>
            <a:ext cx="548640" cy="7620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219200" y="1602109"/>
            <a:ext cx="9753600" cy="4697731"/>
          </a:xfrm>
          <a:custGeom>
            <a:avLst/>
            <a:gdLst/>
            <a:ahLst/>
            <a:cxnLst/>
            <a:rect l="l" t="t" r="r" b="b"/>
            <a:pathLst>
              <a:path w="7315200" h="3914775">
                <a:moveTo>
                  <a:pt x="0" y="0"/>
                </a:moveTo>
                <a:lnTo>
                  <a:pt x="7315200" y="0"/>
                </a:lnTo>
                <a:lnTo>
                  <a:pt x="7315200" y="3914775"/>
                </a:lnTo>
                <a:lnTo>
                  <a:pt x="4114800" y="3914775"/>
                </a:lnTo>
                <a:lnTo>
                  <a:pt x="4114800" y="2542644"/>
                </a:lnTo>
                <a:lnTo>
                  <a:pt x="0" y="2542644"/>
                </a:ln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622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09603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721FFB84-35F6-5B48-8BD4-8906DF31A3DF}" type="datetime3">
              <a:rPr lang="en-US" smtClean="0"/>
              <a:t>25 June 2019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165603" y="6356355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609600" y="1597041"/>
            <a:ext cx="1486723" cy="402599"/>
          </a:xfrm>
          <a:prstGeom prst="rect">
            <a:avLst/>
          </a:prstGeom>
          <a:solidFill>
            <a:srgbClr val="001D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609603" y="1999637"/>
            <a:ext cx="371681" cy="402599"/>
          </a:xfrm>
          <a:prstGeom prst="rect">
            <a:avLst/>
          </a:prstGeom>
          <a:solidFill>
            <a:srgbClr val="334A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981282" y="1999637"/>
            <a:ext cx="371681" cy="402599"/>
          </a:xfrm>
          <a:prstGeom prst="rect">
            <a:avLst/>
          </a:prstGeom>
          <a:solidFill>
            <a:srgbClr val="6677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0" name="Прямоугольник 59"/>
          <p:cNvSpPr/>
          <p:nvPr userDrawn="1"/>
        </p:nvSpPr>
        <p:spPr>
          <a:xfrm>
            <a:off x="1352965" y="1999637"/>
            <a:ext cx="371681" cy="402599"/>
          </a:xfrm>
          <a:prstGeom prst="rect">
            <a:avLst/>
          </a:prstGeom>
          <a:solidFill>
            <a:srgbClr val="99A5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1724645" y="1999637"/>
            <a:ext cx="371681" cy="402599"/>
          </a:xfrm>
          <a:prstGeom prst="rect">
            <a:avLst/>
          </a:prstGeom>
          <a:solidFill>
            <a:srgbClr val="CCD2D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2" name="Text Placeholder 5"/>
          <p:cNvSpPr txBox="1">
            <a:spLocks/>
          </p:cNvSpPr>
          <p:nvPr userDrawn="1"/>
        </p:nvSpPr>
        <p:spPr>
          <a:xfrm>
            <a:off x="751105" y="1723388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bg1"/>
                </a:solidFill>
                <a:latin typeface="Arial" panose="020B0604020202020204" pitchFamily="34" charset="0"/>
              </a:rPr>
              <a:t>RTI blue</a:t>
            </a: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3029048" y="1597041"/>
            <a:ext cx="1486723" cy="402599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3029049" y="1999637"/>
            <a:ext cx="371681" cy="402599"/>
          </a:xfrm>
          <a:prstGeom prst="rect">
            <a:avLst/>
          </a:prstGeom>
          <a:solidFill>
            <a:srgbClr val="F5F5F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3400733" y="1999637"/>
            <a:ext cx="371681" cy="402599"/>
          </a:xfrm>
          <a:prstGeom prst="rect">
            <a:avLst/>
          </a:prstGeom>
          <a:solidFill>
            <a:srgbClr val="F7F7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3772410" y="1999637"/>
            <a:ext cx="371681" cy="402599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4144094" y="1999637"/>
            <a:ext cx="371681" cy="402599"/>
          </a:xfrm>
          <a:prstGeom prst="rect">
            <a:avLst/>
          </a:prstGeom>
          <a:solidFill>
            <a:srgbClr val="FCFC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68" name="Text Placeholder 5"/>
          <p:cNvSpPr txBox="1">
            <a:spLocks/>
          </p:cNvSpPr>
          <p:nvPr userDrawn="1"/>
        </p:nvSpPr>
        <p:spPr>
          <a:xfrm>
            <a:off x="3170553" y="1723388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TI light gray</a:t>
            </a: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5589995" y="1597041"/>
            <a:ext cx="1486723" cy="40259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70" name="Text Placeholder 5"/>
          <p:cNvSpPr txBox="1">
            <a:spLocks/>
          </p:cNvSpPr>
          <p:nvPr userDrawn="1"/>
        </p:nvSpPr>
        <p:spPr>
          <a:xfrm>
            <a:off x="5731499" y="1723388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White</a:t>
            </a:r>
          </a:p>
        </p:txBody>
      </p:sp>
      <p:sp>
        <p:nvSpPr>
          <p:cNvPr id="71" name="Text Placeholder 5"/>
          <p:cNvSpPr txBox="1">
            <a:spLocks/>
          </p:cNvSpPr>
          <p:nvPr userDrawn="1"/>
        </p:nvSpPr>
        <p:spPr>
          <a:xfrm>
            <a:off x="609601" y="2549386"/>
            <a:ext cx="1858403" cy="88334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0/29/77	— 100%</a:t>
            </a:r>
          </a:p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51/74/113	— 80%</a:t>
            </a:r>
          </a:p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102/119/148	— 60%</a:t>
            </a:r>
          </a:p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153/165/184	— 40%</a:t>
            </a:r>
          </a:p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04/210/219	— 20%</a:t>
            </a:r>
          </a:p>
          <a:p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72" name="Text Placeholder 5"/>
          <p:cNvSpPr txBox="1">
            <a:spLocks/>
          </p:cNvSpPr>
          <p:nvPr userDrawn="1"/>
        </p:nvSpPr>
        <p:spPr>
          <a:xfrm>
            <a:off x="5741611" y="2549386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5/255/255</a:t>
            </a:r>
          </a:p>
        </p:txBody>
      </p:sp>
      <p:sp>
        <p:nvSpPr>
          <p:cNvPr id="73" name="Text Placeholder 5"/>
          <p:cNvSpPr txBox="1">
            <a:spLocks/>
          </p:cNvSpPr>
          <p:nvPr userDrawn="1"/>
        </p:nvSpPr>
        <p:spPr>
          <a:xfrm>
            <a:off x="609603" y="3579891"/>
            <a:ext cx="5310975" cy="4373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40">
                <a:latin typeface="Arial" panose="020B0604020202020204" pitchFamily="34" charset="0"/>
              </a:rPr>
              <a:t>Акцентные цвета</a:t>
            </a:r>
            <a:endParaRPr lang="en-US" sz="1440">
              <a:latin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 userDrawn="1"/>
        </p:nvSpPr>
        <p:spPr>
          <a:xfrm>
            <a:off x="609600" y="4017283"/>
            <a:ext cx="1486723" cy="402599"/>
          </a:xfrm>
          <a:prstGeom prst="rect">
            <a:avLst/>
          </a:prstGeom>
          <a:solidFill>
            <a:srgbClr val="00C9B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75" name="Прямоугольник 74"/>
          <p:cNvSpPr/>
          <p:nvPr userDrawn="1"/>
        </p:nvSpPr>
        <p:spPr>
          <a:xfrm>
            <a:off x="609603" y="4419882"/>
            <a:ext cx="371681" cy="402599"/>
          </a:xfrm>
          <a:prstGeom prst="rect">
            <a:avLst/>
          </a:prstGeom>
          <a:solidFill>
            <a:srgbClr val="33D4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76" name="Прямоугольник 75"/>
          <p:cNvSpPr/>
          <p:nvPr userDrawn="1"/>
        </p:nvSpPr>
        <p:spPr>
          <a:xfrm>
            <a:off x="981282" y="4419882"/>
            <a:ext cx="371681" cy="402599"/>
          </a:xfrm>
          <a:prstGeom prst="rect">
            <a:avLst/>
          </a:prstGeom>
          <a:solidFill>
            <a:srgbClr val="66DF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77" name="Прямоугольник 76"/>
          <p:cNvSpPr/>
          <p:nvPr userDrawn="1"/>
        </p:nvSpPr>
        <p:spPr>
          <a:xfrm>
            <a:off x="1352965" y="4419882"/>
            <a:ext cx="371681" cy="402599"/>
          </a:xfrm>
          <a:prstGeom prst="rect">
            <a:avLst/>
          </a:prstGeom>
          <a:solidFill>
            <a:srgbClr val="99E9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1724645" y="4419882"/>
            <a:ext cx="371681" cy="402599"/>
          </a:xfrm>
          <a:prstGeom prst="rect">
            <a:avLst/>
          </a:prstGeom>
          <a:solidFill>
            <a:srgbClr val="CCF4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79" name="Text Placeholder 5"/>
          <p:cNvSpPr txBox="1">
            <a:spLocks/>
          </p:cNvSpPr>
          <p:nvPr userDrawn="1"/>
        </p:nvSpPr>
        <p:spPr>
          <a:xfrm>
            <a:off x="751105" y="4143630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bg1"/>
                </a:solidFill>
                <a:latin typeface="Arial" panose="020B0604020202020204" pitchFamily="34" charset="0"/>
              </a:rPr>
              <a:t>Turquoise</a:t>
            </a:r>
          </a:p>
        </p:txBody>
      </p:sp>
      <p:sp>
        <p:nvSpPr>
          <p:cNvPr id="80" name="Прямоугольник 79"/>
          <p:cNvSpPr/>
          <p:nvPr userDrawn="1"/>
        </p:nvSpPr>
        <p:spPr>
          <a:xfrm>
            <a:off x="3029048" y="4017283"/>
            <a:ext cx="1486723" cy="402599"/>
          </a:xfrm>
          <a:prstGeom prst="rect">
            <a:avLst/>
          </a:prstGeom>
          <a:solidFill>
            <a:srgbClr val="ACD6C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1" name="Прямоугольник 80"/>
          <p:cNvSpPr/>
          <p:nvPr userDrawn="1"/>
        </p:nvSpPr>
        <p:spPr>
          <a:xfrm>
            <a:off x="3029049" y="4419882"/>
            <a:ext cx="371681" cy="402599"/>
          </a:xfrm>
          <a:prstGeom prst="rect">
            <a:avLst/>
          </a:prstGeom>
          <a:solidFill>
            <a:srgbClr val="BBDED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2" name="Прямоугольник 81"/>
          <p:cNvSpPr/>
          <p:nvPr userDrawn="1"/>
        </p:nvSpPr>
        <p:spPr>
          <a:xfrm>
            <a:off x="3400733" y="4419882"/>
            <a:ext cx="371681" cy="402599"/>
          </a:xfrm>
          <a:prstGeom prst="rect">
            <a:avLst/>
          </a:prstGeom>
          <a:solidFill>
            <a:srgbClr val="CCE6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3" name="Прямоугольник 82"/>
          <p:cNvSpPr/>
          <p:nvPr userDrawn="1"/>
        </p:nvSpPr>
        <p:spPr>
          <a:xfrm>
            <a:off x="3772410" y="4419882"/>
            <a:ext cx="371681" cy="402599"/>
          </a:xfrm>
          <a:prstGeom prst="rect">
            <a:avLst/>
          </a:prstGeom>
          <a:solidFill>
            <a:srgbClr val="DDEF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4" name="Прямоугольник 83"/>
          <p:cNvSpPr/>
          <p:nvPr userDrawn="1"/>
        </p:nvSpPr>
        <p:spPr>
          <a:xfrm>
            <a:off x="4144094" y="4419882"/>
            <a:ext cx="371681" cy="402599"/>
          </a:xfrm>
          <a:prstGeom prst="rect">
            <a:avLst/>
          </a:prstGeom>
          <a:solidFill>
            <a:srgbClr val="EEF7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5" name="Text Placeholder 5"/>
          <p:cNvSpPr txBox="1">
            <a:spLocks/>
          </p:cNvSpPr>
          <p:nvPr userDrawn="1"/>
        </p:nvSpPr>
        <p:spPr>
          <a:xfrm>
            <a:off x="3170553" y="4143630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Turquoise Light</a:t>
            </a:r>
          </a:p>
        </p:txBody>
      </p:sp>
      <p:sp>
        <p:nvSpPr>
          <p:cNvPr id="86" name="Прямоугольник 85"/>
          <p:cNvSpPr/>
          <p:nvPr userDrawn="1"/>
        </p:nvSpPr>
        <p:spPr>
          <a:xfrm>
            <a:off x="5589996" y="4017283"/>
            <a:ext cx="1486723" cy="402599"/>
          </a:xfrm>
          <a:prstGeom prst="rect">
            <a:avLst/>
          </a:prstGeom>
          <a:solidFill>
            <a:srgbClr val="F26E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7" name="Прямоугольник 86"/>
          <p:cNvSpPr/>
          <p:nvPr userDrawn="1"/>
        </p:nvSpPr>
        <p:spPr>
          <a:xfrm>
            <a:off x="5590000" y="4419882"/>
            <a:ext cx="371681" cy="402599"/>
          </a:xfrm>
          <a:prstGeom prst="rect">
            <a:avLst/>
          </a:prstGeom>
          <a:solidFill>
            <a:srgbClr val="F58B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8" name="Прямоугольник 87"/>
          <p:cNvSpPr/>
          <p:nvPr userDrawn="1"/>
        </p:nvSpPr>
        <p:spPr>
          <a:xfrm>
            <a:off x="5961678" y="4419882"/>
            <a:ext cx="371681" cy="402599"/>
          </a:xfrm>
          <a:prstGeom prst="rect">
            <a:avLst/>
          </a:prstGeom>
          <a:solidFill>
            <a:srgbClr val="F7A8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89" name="Прямоугольник 88"/>
          <p:cNvSpPr/>
          <p:nvPr userDrawn="1"/>
        </p:nvSpPr>
        <p:spPr>
          <a:xfrm>
            <a:off x="6333361" y="4419882"/>
            <a:ext cx="371681" cy="402599"/>
          </a:xfrm>
          <a:prstGeom prst="rect">
            <a:avLst/>
          </a:prstGeom>
          <a:solidFill>
            <a:srgbClr val="FAC5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0" name="Прямоугольник 89"/>
          <p:cNvSpPr/>
          <p:nvPr userDrawn="1"/>
        </p:nvSpPr>
        <p:spPr>
          <a:xfrm>
            <a:off x="6705041" y="4419882"/>
            <a:ext cx="371681" cy="402599"/>
          </a:xfrm>
          <a:prstGeom prst="rect">
            <a:avLst/>
          </a:prstGeom>
          <a:solidFill>
            <a:srgbClr val="FCE2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1" name="Text Placeholder 5"/>
          <p:cNvSpPr txBox="1">
            <a:spLocks/>
          </p:cNvSpPr>
          <p:nvPr userDrawn="1"/>
        </p:nvSpPr>
        <p:spPr>
          <a:xfrm>
            <a:off x="5731501" y="4143630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bg1"/>
                </a:solidFill>
                <a:latin typeface="Arial" panose="020B0604020202020204" pitchFamily="34" charset="0"/>
              </a:rPr>
              <a:t>Orange</a:t>
            </a:r>
          </a:p>
        </p:txBody>
      </p:sp>
      <p:sp>
        <p:nvSpPr>
          <p:cNvPr id="92" name="Прямоугольник 91"/>
          <p:cNvSpPr/>
          <p:nvPr userDrawn="1"/>
        </p:nvSpPr>
        <p:spPr>
          <a:xfrm>
            <a:off x="8150943" y="4017283"/>
            <a:ext cx="1486723" cy="402599"/>
          </a:xfrm>
          <a:prstGeom prst="rect">
            <a:avLst/>
          </a:prstGeom>
          <a:solidFill>
            <a:srgbClr val="FFCF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3" name="Прямоугольник 92"/>
          <p:cNvSpPr/>
          <p:nvPr userDrawn="1"/>
        </p:nvSpPr>
        <p:spPr>
          <a:xfrm>
            <a:off x="8150945" y="4419882"/>
            <a:ext cx="371681" cy="402599"/>
          </a:xfrm>
          <a:prstGeom prst="rect">
            <a:avLst/>
          </a:prstGeom>
          <a:solidFill>
            <a:srgbClr val="FFD8C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4" name="Прямоугольник 93"/>
          <p:cNvSpPr/>
          <p:nvPr userDrawn="1"/>
        </p:nvSpPr>
        <p:spPr>
          <a:xfrm>
            <a:off x="8522625" y="4419882"/>
            <a:ext cx="371681" cy="402599"/>
          </a:xfrm>
          <a:prstGeom prst="rect">
            <a:avLst/>
          </a:prstGeom>
          <a:solidFill>
            <a:srgbClr val="FFE2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5" name="Прямоугольник 94"/>
          <p:cNvSpPr/>
          <p:nvPr userDrawn="1"/>
        </p:nvSpPr>
        <p:spPr>
          <a:xfrm>
            <a:off x="8894308" y="4419882"/>
            <a:ext cx="371681" cy="402599"/>
          </a:xfrm>
          <a:prstGeom prst="rect">
            <a:avLst/>
          </a:prstGeom>
          <a:solidFill>
            <a:srgbClr val="FFEC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6" name="Прямоугольник 95"/>
          <p:cNvSpPr/>
          <p:nvPr userDrawn="1"/>
        </p:nvSpPr>
        <p:spPr>
          <a:xfrm>
            <a:off x="9265986" y="4419882"/>
            <a:ext cx="371681" cy="402599"/>
          </a:xfrm>
          <a:prstGeom prst="rect">
            <a:avLst/>
          </a:prstGeom>
          <a:solidFill>
            <a:srgbClr val="FFF5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97" name="Text Placeholder 5"/>
          <p:cNvSpPr txBox="1">
            <a:spLocks/>
          </p:cNvSpPr>
          <p:nvPr userDrawn="1"/>
        </p:nvSpPr>
        <p:spPr>
          <a:xfrm>
            <a:off x="8292447" y="4143630"/>
            <a:ext cx="1345223" cy="2762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Orange Light</a:t>
            </a:r>
          </a:p>
        </p:txBody>
      </p:sp>
      <p:sp>
        <p:nvSpPr>
          <p:cNvPr id="98" name="Text Placeholder 5"/>
          <p:cNvSpPr txBox="1">
            <a:spLocks/>
          </p:cNvSpPr>
          <p:nvPr userDrawn="1"/>
        </p:nvSpPr>
        <p:spPr>
          <a:xfrm>
            <a:off x="3029049" y="2549386"/>
            <a:ext cx="1880121" cy="88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42/242/242	— 10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45/245/245	— 8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47/247/247	— 6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0/250/250	— 4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2/252/252	— 20%</a:t>
            </a: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99" name="Text Placeholder 5"/>
          <p:cNvSpPr txBox="1">
            <a:spLocks/>
          </p:cNvSpPr>
          <p:nvPr userDrawn="1"/>
        </p:nvSpPr>
        <p:spPr>
          <a:xfrm>
            <a:off x="609600" y="4973911"/>
            <a:ext cx="2281953" cy="88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971526" algn="l"/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0/201/180		— 100%</a:t>
            </a:r>
          </a:p>
          <a:p>
            <a:pPr>
              <a:tabLst>
                <a:tab pos="971526" algn="l"/>
                <a:tab pos="1078204" algn="l"/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51/212/195			— 80%</a:t>
            </a:r>
          </a:p>
          <a:p>
            <a:pPr>
              <a:tabLst>
                <a:tab pos="971526" algn="l"/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102/223/210	— 60%</a:t>
            </a:r>
          </a:p>
          <a:p>
            <a:pPr>
              <a:tabLst>
                <a:tab pos="971526" algn="l"/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153/233/225	— 40%</a:t>
            </a:r>
          </a:p>
          <a:p>
            <a:pPr>
              <a:tabLst>
                <a:tab pos="971526" algn="l"/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04/244/240	— 20%</a:t>
            </a:r>
          </a:p>
          <a:p>
            <a:pPr>
              <a:tabLst>
                <a:tab pos="971526" algn="l"/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tabLst>
                <a:tab pos="971526" algn="l"/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0" name="Text Placeholder 5"/>
          <p:cNvSpPr txBox="1">
            <a:spLocks/>
          </p:cNvSpPr>
          <p:nvPr userDrawn="1"/>
        </p:nvSpPr>
        <p:spPr>
          <a:xfrm>
            <a:off x="3029049" y="4969628"/>
            <a:ext cx="1880121" cy="88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172/214/202	— 10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187/222/213	— 8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04/230/223	— 6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21/239/234	— 4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38/247/244	— 20%</a:t>
            </a: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1" name="Text Placeholder 5"/>
          <p:cNvSpPr txBox="1">
            <a:spLocks/>
          </p:cNvSpPr>
          <p:nvPr userDrawn="1"/>
        </p:nvSpPr>
        <p:spPr>
          <a:xfrm>
            <a:off x="5594441" y="4969628"/>
            <a:ext cx="1880121" cy="88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42/110/78	— 10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45/139/113	— 8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47/168/149	— 6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0/197/184	— 4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2/226/220	— 20%</a:t>
            </a: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02" name="Text Placeholder 5"/>
          <p:cNvSpPr txBox="1">
            <a:spLocks/>
          </p:cNvSpPr>
          <p:nvPr userDrawn="1"/>
        </p:nvSpPr>
        <p:spPr>
          <a:xfrm>
            <a:off x="8184174" y="4969628"/>
            <a:ext cx="1880121" cy="88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200" kern="1200">
                <a:solidFill>
                  <a:schemeClr val="accent1"/>
                </a:solidFill>
                <a:latin typeface="Brutal Type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Brutal Type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5/207/179	— 10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5/216/195	— 8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5/226/210	— 6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5/236/225	— 40%</a:t>
            </a:r>
          </a:p>
          <a:p>
            <a:pPr>
              <a:tabLst>
                <a:tab pos="1184881" algn="l"/>
              </a:tabLst>
            </a:pPr>
            <a:r>
              <a:rPr lang="en-US" sz="1080">
                <a:solidFill>
                  <a:schemeClr val="tx1"/>
                </a:solidFill>
                <a:latin typeface="Arial" panose="020B0604020202020204" pitchFamily="34" charset="0"/>
              </a:rPr>
              <a:t>RGB 255/245/240	— 20%</a:t>
            </a: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tabLst>
                <a:tab pos="1184881" algn="l"/>
              </a:tabLst>
            </a:pPr>
            <a:endParaRPr lang="en-US" sz="108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56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0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Образцы корпоративного цвета</a:t>
            </a:r>
            <a:endParaRPr lang="ru-RU" dirty="0"/>
          </a:p>
        </p:txBody>
      </p:sp>
      <p:sp>
        <p:nvSpPr>
          <p:cNvPr id="106" name="Slide Number Placeholder 13"/>
          <p:cNvSpPr txBox="1">
            <a:spLocks/>
          </p:cNvSpPr>
          <p:nvPr userDrawn="1"/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bg-BG" sz="960"/>
              <a:t>стр. </a:t>
            </a:r>
            <a:fld id="{2066355A-084C-D24E-9AD2-7E4FC41EA627}" type="slidenum">
              <a:rPr lang="en-US" sz="960" smtClean="0"/>
              <a:pPr/>
              <a:t>‹#›</a:t>
            </a:fld>
            <a:endParaRPr lang="en-US" sz="960"/>
          </a:p>
        </p:txBody>
      </p:sp>
      <p:sp>
        <p:nvSpPr>
          <p:cNvPr id="107" name="Footer Placeholder 12"/>
          <p:cNvSpPr txBox="1">
            <a:spLocks/>
          </p:cNvSpPr>
          <p:nvPr userDrawn="1"/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60"/>
              <a:t>Название презентации</a:t>
            </a:r>
            <a:endParaRPr lang="en-US" sz="960"/>
          </a:p>
        </p:txBody>
      </p:sp>
    </p:spTree>
    <p:extLst>
      <p:ext uri="{BB962C8B-B14F-4D97-AF65-F5344CB8AC3E}">
        <p14:creationId xmlns:p14="http://schemas.microsoft.com/office/powerpoint/2010/main" val="14222953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2" y="1826420"/>
            <a:ext cx="9688749" cy="43486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40">
                <a:solidFill>
                  <a:srgbClr val="001D4D"/>
                </a:solidFill>
              </a:defRPr>
            </a:lvl1pPr>
            <a:lvl2pPr marL="548626" indent="0">
              <a:buNone/>
              <a:defRPr sz="1680"/>
            </a:lvl2pPr>
            <a:lvl3pPr marL="1097253" indent="0">
              <a:buNone/>
              <a:defRPr sz="1920"/>
            </a:lvl3pPr>
            <a:lvl4pPr marL="1645879" indent="0">
              <a:buNone/>
              <a:defRPr sz="1920"/>
            </a:lvl4pPr>
            <a:lvl5pPr marL="2194505" indent="0">
              <a:buNone/>
              <a:defRPr sz="1920"/>
            </a:lvl5pPr>
          </a:lstStyle>
          <a:p>
            <a:pPr lvl="0"/>
            <a:r>
              <a:rPr lang="ru-RU" dirty="0" err="1"/>
              <a:t>Лорем</a:t>
            </a:r>
            <a:r>
              <a:rPr lang="ru-RU" dirty="0"/>
              <a:t> </a:t>
            </a:r>
            <a:r>
              <a:rPr lang="ru-RU" dirty="0" err="1"/>
              <a:t>ипсум</a:t>
            </a:r>
            <a:r>
              <a:rPr lang="ru-RU" dirty="0"/>
              <a:t> </a:t>
            </a:r>
            <a:r>
              <a:rPr lang="ru-RU" dirty="0" err="1"/>
              <a:t>долор</a:t>
            </a:r>
            <a:r>
              <a:rPr lang="ru-RU" dirty="0"/>
              <a:t> сит </a:t>
            </a:r>
            <a:r>
              <a:rPr lang="ru-RU" dirty="0" err="1"/>
              <a:t>амет</a:t>
            </a:r>
            <a:r>
              <a:rPr lang="ru-RU" dirty="0"/>
              <a:t>, </a:t>
            </a:r>
            <a:r>
              <a:rPr lang="ru-RU" dirty="0" err="1"/>
              <a:t>вих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малис</a:t>
            </a:r>
            <a:r>
              <a:rPr lang="ru-RU" dirty="0"/>
              <a:t> </a:t>
            </a:r>
            <a:r>
              <a:rPr lang="ru-RU" dirty="0" err="1"/>
              <a:t>инцоррупте</a:t>
            </a:r>
            <a:r>
              <a:rPr lang="ru-RU" dirty="0"/>
              <a:t>,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делицата</a:t>
            </a:r>
            <a:r>
              <a:rPr lang="ru-RU" dirty="0"/>
              <a:t> </a:t>
            </a:r>
            <a:r>
              <a:rPr lang="ru-RU" dirty="0" err="1"/>
              <a:t>тинцидунт</a:t>
            </a:r>
            <a:r>
              <a:rPr lang="ru-RU" dirty="0"/>
              <a:t> мел.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промпта</a:t>
            </a:r>
            <a:r>
              <a:rPr lang="ru-RU" dirty="0"/>
              <a:t> </a:t>
            </a:r>
            <a:r>
              <a:rPr lang="ru-RU" dirty="0" err="1"/>
              <a:t>долорум</a:t>
            </a:r>
            <a:r>
              <a:rPr lang="ru-RU" dirty="0"/>
              <a:t> </a:t>
            </a:r>
            <a:r>
              <a:rPr lang="ru-RU" dirty="0" err="1"/>
              <a:t>дефинитионем</a:t>
            </a:r>
            <a:r>
              <a:rPr lang="ru-RU" dirty="0"/>
              <a:t>,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сплендиде</a:t>
            </a:r>
            <a:r>
              <a:rPr lang="ru-RU" dirty="0"/>
              <a:t> </a:t>
            </a:r>
            <a:r>
              <a:rPr lang="ru-RU" dirty="0" err="1"/>
              <a:t>цомпрехенсам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 дуо. </a:t>
            </a:r>
            <a:r>
              <a:rPr lang="ru-RU" dirty="0" err="1"/>
              <a:t>Новум</a:t>
            </a:r>
            <a:r>
              <a:rPr lang="ru-RU" dirty="0"/>
              <a:t> </a:t>
            </a:r>
            <a:r>
              <a:rPr lang="ru-RU" dirty="0" err="1"/>
              <a:t>диспутатиони</a:t>
            </a:r>
            <a:r>
              <a:rPr lang="ru-RU" dirty="0"/>
              <a:t> ан вел. Усу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, ин </a:t>
            </a:r>
            <a:r>
              <a:rPr lang="ru-RU" dirty="0" err="1"/>
              <a:t>яуи</a:t>
            </a:r>
            <a:r>
              <a:rPr lang="ru-RU" dirty="0"/>
              <a:t> модус </a:t>
            </a:r>
            <a:r>
              <a:rPr lang="ru-RU" dirty="0" err="1"/>
              <a:t>интегре</a:t>
            </a:r>
            <a:r>
              <a:rPr lang="ru-RU" dirty="0"/>
              <a:t>. </a:t>
            </a:r>
            <a:r>
              <a:rPr lang="ru-RU" dirty="0" err="1"/>
              <a:t>Саперет</a:t>
            </a:r>
            <a:r>
              <a:rPr lang="ru-RU" dirty="0"/>
              <a:t> </a:t>
            </a:r>
            <a:r>
              <a:rPr lang="ru-RU" dirty="0" err="1"/>
              <a:t>инвенире</a:t>
            </a:r>
            <a:r>
              <a:rPr lang="ru-RU" dirty="0"/>
              <a:t> </a:t>
            </a:r>
            <a:r>
              <a:rPr lang="ru-RU" dirty="0" err="1"/>
              <a:t>неглеген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вел, </a:t>
            </a:r>
            <a:r>
              <a:rPr lang="ru-RU" dirty="0" err="1"/>
              <a:t>ут</a:t>
            </a:r>
            <a:r>
              <a:rPr lang="ru-RU" dirty="0"/>
              <a:t> вис </a:t>
            </a:r>
            <a:r>
              <a:rPr lang="ru-RU" dirty="0" err="1"/>
              <a:t>аперири</a:t>
            </a:r>
            <a:r>
              <a:rPr lang="ru-RU" dirty="0"/>
              <a:t> </a:t>
            </a:r>
            <a:r>
              <a:rPr lang="ru-RU" dirty="0" err="1"/>
              <a:t>фабулас</a:t>
            </a:r>
            <a:r>
              <a:rPr lang="ru-RU" dirty="0"/>
              <a:t> </a:t>
            </a:r>
            <a:r>
              <a:rPr lang="ru-RU" dirty="0" err="1"/>
              <a:t>фабеллас</a:t>
            </a:r>
            <a:r>
              <a:rPr lang="ru-RU" dirty="0"/>
              <a:t>, не </a:t>
            </a:r>
            <a:r>
              <a:rPr lang="ru-RU" dirty="0" err="1"/>
              <a:t>пауло</a:t>
            </a:r>
            <a:r>
              <a:rPr lang="ru-RU" dirty="0"/>
              <a:t> </a:t>
            </a:r>
            <a:r>
              <a:rPr lang="ru-RU" dirty="0" err="1"/>
              <a:t>цаусае</a:t>
            </a:r>
            <a:r>
              <a:rPr lang="ru-RU" dirty="0"/>
              <a:t> вел. Ин </a:t>
            </a:r>
            <a:r>
              <a:rPr lang="ru-RU" dirty="0" err="1"/>
              <a:t>адхуц</a:t>
            </a:r>
            <a:r>
              <a:rPr lang="ru-RU" dirty="0"/>
              <a:t> </a:t>
            </a:r>
            <a:r>
              <a:rPr lang="ru-RU" dirty="0" err="1"/>
              <a:t>еррор</a:t>
            </a:r>
            <a:r>
              <a:rPr lang="ru-RU" dirty="0"/>
              <a:t> </a:t>
            </a:r>
            <a:r>
              <a:rPr lang="ru-RU" dirty="0" err="1"/>
              <a:t>волутпа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. Ид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адмодум</a:t>
            </a:r>
            <a:r>
              <a:rPr lang="ru-RU" dirty="0"/>
              <a:t> </a:t>
            </a:r>
            <a:r>
              <a:rPr lang="ru-RU" dirty="0" err="1"/>
              <a:t>хис</a:t>
            </a:r>
            <a:r>
              <a:rPr lang="ru-RU" dirty="0"/>
              <a:t>, </a:t>
            </a:r>
            <a:r>
              <a:rPr lang="ru-RU" dirty="0" err="1"/>
              <a:t>еос</a:t>
            </a:r>
            <a:r>
              <a:rPr lang="ru-RU" dirty="0"/>
              <a:t> </a:t>
            </a:r>
            <a:r>
              <a:rPr lang="ru-RU" dirty="0" err="1"/>
              <a:t>цетеро</a:t>
            </a:r>
            <a:r>
              <a:rPr lang="ru-RU" dirty="0"/>
              <a:t> </a:t>
            </a:r>
            <a:r>
              <a:rPr lang="ru-RU" dirty="0" err="1"/>
              <a:t>глориа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, </a:t>
            </a:r>
            <a:r>
              <a:rPr lang="ru-RU" dirty="0" err="1"/>
              <a:t>семпер</a:t>
            </a:r>
            <a:r>
              <a:rPr lang="ru-RU" dirty="0"/>
              <a:t> </a:t>
            </a:r>
            <a:r>
              <a:rPr lang="ru-RU" dirty="0" err="1"/>
              <a:t>феугиат</a:t>
            </a:r>
            <a:r>
              <a:rPr lang="ru-RU" dirty="0"/>
              <a:t> </a:t>
            </a:r>
            <a:r>
              <a:rPr lang="ru-RU" dirty="0" err="1"/>
              <a:t>ратионибус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.</a:t>
            </a:r>
          </a:p>
          <a:p>
            <a:pPr lvl="0"/>
            <a:endParaRPr lang="ru-RU" dirty="0"/>
          </a:p>
          <a:p>
            <a:pPr lvl="0"/>
            <a:r>
              <a:rPr lang="ru-RU" dirty="0"/>
              <a:t>Ад </a:t>
            </a:r>
            <a:r>
              <a:rPr lang="ru-RU" dirty="0" err="1"/>
              <a:t>цум</a:t>
            </a:r>
            <a:r>
              <a:rPr lang="ru-RU" dirty="0"/>
              <a:t> </a:t>
            </a:r>
            <a:r>
              <a:rPr lang="ru-RU" dirty="0" err="1"/>
              <a:t>татион</a:t>
            </a:r>
            <a:r>
              <a:rPr lang="ru-RU" dirty="0"/>
              <a:t> </a:t>
            </a:r>
            <a:r>
              <a:rPr lang="ru-RU" dirty="0" err="1"/>
              <a:t>абхорреант</a:t>
            </a:r>
            <a:r>
              <a:rPr lang="ru-RU" dirty="0"/>
              <a:t>, </a:t>
            </a:r>
            <a:r>
              <a:rPr lang="ru-RU" dirty="0" err="1"/>
              <a:t>нец</a:t>
            </a:r>
            <a:r>
              <a:rPr lang="ru-RU" dirty="0"/>
              <a:t> не </a:t>
            </a:r>
            <a:r>
              <a:rPr lang="ru-RU" dirty="0" err="1"/>
              <a:t>пурто</a:t>
            </a:r>
            <a:r>
              <a:rPr lang="ru-RU" dirty="0"/>
              <a:t> </a:t>
            </a:r>
            <a:r>
              <a:rPr lang="ru-RU" dirty="0" err="1"/>
              <a:t>диссентиунт</a:t>
            </a:r>
            <a:r>
              <a:rPr lang="ru-RU" dirty="0"/>
              <a:t>. Ид </a:t>
            </a:r>
            <a:r>
              <a:rPr lang="ru-RU" dirty="0" err="1"/>
              <a:t>салутанди</a:t>
            </a:r>
            <a:r>
              <a:rPr lang="ru-RU" dirty="0"/>
              <a:t> </a:t>
            </a:r>
            <a:r>
              <a:rPr lang="ru-RU" dirty="0" err="1"/>
              <a:t>витуператорибус</a:t>
            </a:r>
            <a:r>
              <a:rPr lang="ru-RU" dirty="0"/>
              <a:t> ест. Но </a:t>
            </a:r>
            <a:r>
              <a:rPr lang="ru-RU" dirty="0" err="1"/>
              <a:t>яуи</a:t>
            </a:r>
            <a:r>
              <a:rPr lang="ru-RU" dirty="0"/>
              <a:t> </a:t>
            </a:r>
            <a:r>
              <a:rPr lang="ru-RU" dirty="0" err="1"/>
              <a:t>мутат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. Но ест </a:t>
            </a:r>
            <a:r>
              <a:rPr lang="ru-RU" dirty="0" err="1"/>
              <a:t>облияуе</a:t>
            </a:r>
            <a:r>
              <a:rPr lang="ru-RU" dirty="0"/>
              <a:t> </a:t>
            </a:r>
            <a:r>
              <a:rPr lang="ru-RU" dirty="0" err="1"/>
              <a:t>луптатум</a:t>
            </a:r>
            <a:r>
              <a:rPr lang="ru-RU" dirty="0"/>
              <a:t> </a:t>
            </a:r>
            <a:r>
              <a:rPr lang="ru-RU" dirty="0" err="1"/>
              <a:t>цомплецтитур</a:t>
            </a:r>
            <a:r>
              <a:rPr lang="ru-RU" dirty="0"/>
              <a:t>. Вис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сусципит</a:t>
            </a:r>
            <a:r>
              <a:rPr lang="ru-RU" dirty="0"/>
              <a:t> </a:t>
            </a:r>
            <a:r>
              <a:rPr lang="ru-RU" dirty="0" err="1"/>
              <a:t>салутату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</a:t>
            </a:r>
            <a:r>
              <a:rPr lang="ru-RU" dirty="0" err="1"/>
              <a:t>яуаестио</a:t>
            </a:r>
            <a:r>
              <a:rPr lang="ru-RU" dirty="0"/>
              <a:t> </a:t>
            </a:r>
            <a:r>
              <a:rPr lang="ru-RU" dirty="0" err="1"/>
              <a:t>импердие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, но </a:t>
            </a:r>
            <a:r>
              <a:rPr lang="ru-RU" dirty="0" err="1"/>
              <a:t>солум</a:t>
            </a:r>
            <a:r>
              <a:rPr lang="ru-RU" dirty="0"/>
              <a:t> </a:t>
            </a:r>
            <a:r>
              <a:rPr lang="ru-RU" dirty="0" err="1"/>
              <a:t>денияуе</a:t>
            </a:r>
            <a:r>
              <a:rPr lang="ru-RU" dirty="0"/>
              <a:t>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алиа</a:t>
            </a:r>
            <a:r>
              <a:rPr lang="ru-RU" dirty="0"/>
              <a:t> </a:t>
            </a:r>
            <a:r>
              <a:rPr lang="ru-RU" dirty="0" err="1"/>
              <a:t>яуидам</a:t>
            </a:r>
            <a:r>
              <a:rPr lang="ru-RU" dirty="0"/>
              <a:t> </a:t>
            </a:r>
            <a:r>
              <a:rPr lang="ru-RU" dirty="0" err="1"/>
              <a:t>дефинитионе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вис </a:t>
            </a:r>
            <a:r>
              <a:rPr lang="ru-RU" dirty="0" err="1"/>
              <a:t>аугуе</a:t>
            </a:r>
            <a:r>
              <a:rPr lang="ru-RU" dirty="0"/>
              <a:t> </a:t>
            </a:r>
            <a:r>
              <a:rPr lang="ru-RU" dirty="0" err="1"/>
              <a:t>малорум</a:t>
            </a:r>
            <a:r>
              <a:rPr lang="ru-RU" dirty="0"/>
              <a:t> </a:t>
            </a:r>
            <a:r>
              <a:rPr lang="ru-RU" dirty="0" err="1"/>
              <a:t>цивибус</a:t>
            </a:r>
            <a:r>
              <a:rPr lang="ru-RU" dirty="0"/>
              <a:t>. Не </a:t>
            </a:r>
            <a:r>
              <a:rPr lang="ru-RU" dirty="0" err="1"/>
              <a:t>иус</a:t>
            </a:r>
            <a:r>
              <a:rPr lang="ru-RU" dirty="0"/>
              <a:t> </a:t>
            </a:r>
            <a:r>
              <a:rPr lang="ru-RU" dirty="0" err="1"/>
              <a:t>деленит</a:t>
            </a:r>
            <a:r>
              <a:rPr lang="ru-RU" dirty="0"/>
              <a:t> </a:t>
            </a:r>
            <a:r>
              <a:rPr lang="ru-RU" dirty="0" err="1"/>
              <a:t>урбанитас</a:t>
            </a:r>
            <a:r>
              <a:rPr lang="ru-RU" dirty="0"/>
              <a:t>, </a:t>
            </a:r>
            <a:r>
              <a:rPr lang="ru-RU" dirty="0" err="1"/>
              <a:t>ех</a:t>
            </a:r>
            <a:r>
              <a:rPr lang="ru-RU" dirty="0"/>
              <a:t> вел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дебитис</a:t>
            </a:r>
            <a:r>
              <a:rPr lang="ru-RU" dirty="0"/>
              <a:t>, вел </a:t>
            </a:r>
            <a:r>
              <a:rPr lang="ru-RU" dirty="0" err="1"/>
              <a:t>цу</a:t>
            </a:r>
            <a:r>
              <a:rPr lang="ru-RU" dirty="0"/>
              <a:t> тале </a:t>
            </a:r>
            <a:r>
              <a:rPr lang="ru-RU" dirty="0" err="1"/>
              <a:t>либерависсе</a:t>
            </a:r>
            <a:r>
              <a:rPr lang="ru-RU" dirty="0"/>
              <a:t>.</a:t>
            </a:r>
          </a:p>
          <a:p>
            <a:pPr lvl="0"/>
            <a:endParaRPr lang="ru-RU" dirty="0"/>
          </a:p>
          <a:p>
            <a:pPr lvl="0"/>
            <a:r>
              <a:rPr lang="ru-RU" dirty="0" err="1"/>
              <a:t>Е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маиорум</a:t>
            </a:r>
            <a:r>
              <a:rPr lang="ru-RU" dirty="0"/>
              <a:t> </a:t>
            </a:r>
            <a:r>
              <a:rPr lang="ru-RU" dirty="0" err="1"/>
              <a:t>аццусам</a:t>
            </a:r>
            <a:r>
              <a:rPr lang="ru-RU" dirty="0"/>
              <a:t>, </a:t>
            </a:r>
            <a:r>
              <a:rPr lang="ru-RU" dirty="0" err="1"/>
              <a:t>сцрипта</a:t>
            </a:r>
            <a:r>
              <a:rPr lang="ru-RU" dirty="0"/>
              <a:t> </a:t>
            </a:r>
            <a:r>
              <a:rPr lang="ru-RU" dirty="0" err="1"/>
              <a:t>цоррумпит</a:t>
            </a:r>
            <a:r>
              <a:rPr lang="ru-RU" dirty="0"/>
              <a:t> </a:t>
            </a:r>
            <a:r>
              <a:rPr lang="ru-RU" dirty="0" err="1"/>
              <a:t>симилияуе</a:t>
            </a:r>
            <a:r>
              <a:rPr lang="ru-RU" dirty="0"/>
              <a:t> но </a:t>
            </a:r>
            <a:r>
              <a:rPr lang="ru-RU" dirty="0" err="1"/>
              <a:t>яуо</a:t>
            </a:r>
            <a:r>
              <a:rPr lang="ru-RU" dirty="0"/>
              <a:t>, </a:t>
            </a:r>
            <a:r>
              <a:rPr lang="ru-RU" dirty="0" err="1"/>
              <a:t>иллуд</a:t>
            </a:r>
            <a:r>
              <a:rPr lang="ru-RU" dirty="0"/>
              <a:t> </a:t>
            </a:r>
            <a:r>
              <a:rPr lang="ru-RU" dirty="0" err="1"/>
              <a:t>уллум</a:t>
            </a:r>
            <a:r>
              <a:rPr lang="ru-RU" dirty="0"/>
              <a:t> не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нумяуам</a:t>
            </a:r>
            <a:r>
              <a:rPr lang="ru-RU" dirty="0"/>
              <a:t> </a:t>
            </a:r>
            <a:r>
              <a:rPr lang="ru-RU" dirty="0" err="1"/>
              <a:t>петентиум</a:t>
            </a:r>
            <a:r>
              <a:rPr lang="ru-RU" dirty="0"/>
              <a:t> </a:t>
            </a:r>
            <a:r>
              <a:rPr lang="ru-RU" dirty="0" err="1"/>
              <a:t>хис</a:t>
            </a:r>
            <a:r>
              <a:rPr lang="ru-RU" dirty="0"/>
              <a:t>, </a:t>
            </a:r>
            <a:r>
              <a:rPr lang="ru-RU" dirty="0" err="1"/>
              <a:t>еи</a:t>
            </a:r>
            <a:r>
              <a:rPr lang="ru-RU" dirty="0"/>
              <a:t> минимум </a:t>
            </a:r>
            <a:r>
              <a:rPr lang="ru-RU" dirty="0" err="1"/>
              <a:t>легендос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хас</a:t>
            </a:r>
            <a:r>
              <a:rPr lang="ru-RU" dirty="0"/>
              <a:t>, </a:t>
            </a:r>
            <a:r>
              <a:rPr lang="ru-RU" dirty="0" err="1"/>
              <a:t>улламцорпер</a:t>
            </a:r>
            <a:r>
              <a:rPr lang="ru-RU" dirty="0"/>
              <a:t> </a:t>
            </a:r>
            <a:r>
              <a:rPr lang="ru-RU" dirty="0" err="1"/>
              <a:t>цонсецтетуер</a:t>
            </a:r>
            <a:r>
              <a:rPr lang="ru-RU" dirty="0"/>
              <a:t> те </a:t>
            </a:r>
            <a:r>
              <a:rPr lang="ru-RU" dirty="0" err="1"/>
              <a:t>яуи</a:t>
            </a:r>
            <a:r>
              <a:rPr lang="ru-RU" dirty="0"/>
              <a:t>. Сит но сале </a:t>
            </a:r>
            <a:r>
              <a:rPr lang="ru-RU" dirty="0" err="1"/>
              <a:t>нихил</a:t>
            </a:r>
            <a:r>
              <a:rPr lang="ru-RU" dirty="0"/>
              <a:t>, при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тамяуам</a:t>
            </a:r>
            <a:r>
              <a:rPr lang="ru-RU" dirty="0"/>
              <a:t> </a:t>
            </a:r>
            <a:r>
              <a:rPr lang="ru-RU" dirty="0" err="1"/>
              <a:t>фуиссет</a:t>
            </a:r>
            <a:r>
              <a:rPr lang="ru-RU" dirty="0"/>
              <a:t> </a:t>
            </a:r>
            <a:r>
              <a:rPr lang="ru-RU" dirty="0" err="1"/>
              <a:t>аццусата</a:t>
            </a:r>
            <a:r>
              <a:rPr lang="ru-RU" dirty="0"/>
              <a:t>, не мел </a:t>
            </a:r>
            <a:r>
              <a:rPr lang="ru-RU" dirty="0" err="1"/>
              <a:t>аеяуе</a:t>
            </a:r>
            <a:r>
              <a:rPr lang="ru-RU" dirty="0"/>
              <a:t> </a:t>
            </a:r>
            <a:r>
              <a:rPr lang="ru-RU" dirty="0" err="1"/>
              <a:t>атоморум</a:t>
            </a:r>
            <a:r>
              <a:rPr lang="ru-RU" dirty="0"/>
              <a:t>. Про </a:t>
            </a:r>
            <a:r>
              <a:rPr lang="ru-RU" dirty="0" err="1"/>
              <a:t>аеяуе</a:t>
            </a:r>
            <a:r>
              <a:rPr lang="ru-RU" dirty="0"/>
              <a:t> </a:t>
            </a:r>
            <a:r>
              <a:rPr lang="ru-RU" dirty="0" err="1"/>
              <a:t>мовет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, вел </a:t>
            </a:r>
            <a:r>
              <a:rPr lang="ru-RU" dirty="0" err="1"/>
              <a:t>аццумсан</a:t>
            </a:r>
            <a:r>
              <a:rPr lang="ru-RU" dirty="0"/>
              <a:t> </a:t>
            </a:r>
            <a:r>
              <a:rPr lang="ru-RU" dirty="0" err="1"/>
              <a:t>волуптариа</a:t>
            </a:r>
            <a:r>
              <a:rPr lang="ru-RU" dirty="0"/>
              <a:t> ад, дуо </a:t>
            </a:r>
            <a:r>
              <a:rPr lang="ru-RU" dirty="0" err="1"/>
              <a:t>елецтрам</a:t>
            </a:r>
            <a:r>
              <a:rPr lang="ru-RU" dirty="0"/>
              <a:t> </a:t>
            </a:r>
            <a:r>
              <a:rPr lang="ru-RU" dirty="0" err="1"/>
              <a:t>десеруиссе</a:t>
            </a:r>
            <a:r>
              <a:rPr lang="ru-RU" dirty="0"/>
              <a:t> </a:t>
            </a:r>
            <a:r>
              <a:rPr lang="ru-RU" dirty="0" err="1"/>
              <a:t>инструцтиор</a:t>
            </a:r>
            <a:r>
              <a:rPr lang="ru-RU" dirty="0"/>
              <a:t> </a:t>
            </a:r>
            <a:r>
              <a:rPr lang="ru-RU" dirty="0" err="1"/>
              <a:t>ет</a:t>
            </a:r>
            <a:r>
              <a:rPr lang="ru-RU" dirty="0"/>
              <a:t>. </a:t>
            </a:r>
            <a:r>
              <a:rPr lang="ru-RU" dirty="0" err="1"/>
              <a:t>Мазим</a:t>
            </a:r>
            <a:r>
              <a:rPr lang="ru-RU" dirty="0"/>
              <a:t> </a:t>
            </a:r>
            <a:r>
              <a:rPr lang="ru-RU" dirty="0" err="1"/>
              <a:t>волумус</a:t>
            </a:r>
            <a:r>
              <a:rPr lang="ru-RU" dirty="0"/>
              <a:t> </a:t>
            </a:r>
            <a:r>
              <a:rPr lang="ru-RU" dirty="0" err="1"/>
              <a:t>сусципиантур</a:t>
            </a:r>
            <a:r>
              <a:rPr lang="ru-RU" dirty="0"/>
              <a:t> но при, про </a:t>
            </a:r>
            <a:r>
              <a:rPr lang="ru-RU" dirty="0" err="1"/>
              <a:t>порро</a:t>
            </a:r>
            <a:r>
              <a:rPr lang="ru-RU" dirty="0"/>
              <a:t> </a:t>
            </a:r>
            <a:r>
              <a:rPr lang="ru-RU" dirty="0" err="1"/>
              <a:t>апериам</a:t>
            </a:r>
            <a:r>
              <a:rPr lang="ru-RU" dirty="0"/>
              <a:t> </a:t>
            </a:r>
            <a:r>
              <a:rPr lang="ru-RU" dirty="0" err="1"/>
              <a:t>елигенди</a:t>
            </a:r>
            <a:r>
              <a:rPr lang="ru-RU" dirty="0"/>
              <a:t> </a:t>
            </a:r>
            <a:r>
              <a:rPr lang="ru-RU" dirty="0" err="1"/>
              <a:t>ех</a:t>
            </a:r>
            <a:r>
              <a:rPr lang="ru-RU" dirty="0"/>
              <a:t>, но </a:t>
            </a:r>
            <a:r>
              <a:rPr lang="ru-RU" dirty="0" err="1"/>
              <a:t>яуо</a:t>
            </a:r>
            <a:r>
              <a:rPr lang="ru-RU" dirty="0"/>
              <a:t> </a:t>
            </a:r>
            <a:r>
              <a:rPr lang="ru-RU" dirty="0" err="1"/>
              <a:t>тота</a:t>
            </a:r>
            <a:r>
              <a:rPr lang="ru-RU" dirty="0"/>
              <a:t> </a:t>
            </a:r>
            <a:r>
              <a:rPr lang="ru-RU" dirty="0" err="1"/>
              <a:t>адмодум</a:t>
            </a:r>
            <a:r>
              <a:rPr lang="ru-RU" dirty="0"/>
              <a:t> </a:t>
            </a:r>
            <a:r>
              <a:rPr lang="ru-RU" dirty="0" err="1"/>
              <a:t>маиорум</a:t>
            </a:r>
            <a:r>
              <a:rPr lang="ru-RU" dirty="0"/>
              <a:t>.</a:t>
            </a:r>
            <a:endParaRPr lang="en-US" dirty="0"/>
          </a:p>
        </p:txBody>
      </p:sp>
      <p:pic>
        <p:nvPicPr>
          <p:cNvPr id="12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sp>
        <p:nvSpPr>
          <p:cNvPr id="17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714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4" y="1786240"/>
            <a:ext cx="10602097" cy="4508203"/>
          </a:xfrm>
          <a:prstGeom prst="rect">
            <a:avLst/>
          </a:prstGeom>
        </p:spPr>
        <p:txBody>
          <a:bodyPr lIns="0" tIns="0" rIns="0" bIns="0" numCol="2" spcCol="360000">
            <a:normAutofit/>
          </a:bodyPr>
          <a:lstStyle>
            <a:lvl1pPr marL="0" indent="0">
              <a:buNone/>
              <a:defRPr sz="1200">
                <a:solidFill>
                  <a:srgbClr val="001D4D"/>
                </a:solidFill>
              </a:defRPr>
            </a:lvl1pPr>
            <a:lvl2pPr marL="548626" indent="0">
              <a:buNone/>
              <a:defRPr sz="1680"/>
            </a:lvl2pPr>
            <a:lvl3pPr marL="1097253" indent="0">
              <a:buNone/>
              <a:defRPr sz="1920"/>
            </a:lvl3pPr>
            <a:lvl4pPr marL="1645879" indent="0">
              <a:buNone/>
              <a:defRPr sz="1920"/>
            </a:lvl4pPr>
            <a:lvl5pPr marL="2194505" indent="0">
              <a:buNone/>
              <a:defRPr sz="1920"/>
            </a:lvl5pPr>
          </a:lstStyle>
          <a:p>
            <a:pPr lvl="0"/>
            <a:r>
              <a:rPr lang="ru-RU" dirty="0" err="1"/>
              <a:t>Лорем</a:t>
            </a:r>
            <a:r>
              <a:rPr lang="ru-RU" dirty="0"/>
              <a:t> </a:t>
            </a:r>
            <a:r>
              <a:rPr lang="ru-RU" dirty="0" err="1"/>
              <a:t>ипсум</a:t>
            </a:r>
            <a:r>
              <a:rPr lang="ru-RU" dirty="0"/>
              <a:t> </a:t>
            </a:r>
            <a:r>
              <a:rPr lang="ru-RU" dirty="0" err="1"/>
              <a:t>долор</a:t>
            </a:r>
            <a:r>
              <a:rPr lang="ru-RU" dirty="0"/>
              <a:t> сит </a:t>
            </a:r>
            <a:r>
              <a:rPr lang="ru-RU" dirty="0" err="1"/>
              <a:t>амет</a:t>
            </a:r>
            <a:r>
              <a:rPr lang="ru-RU" dirty="0"/>
              <a:t>, </a:t>
            </a:r>
            <a:r>
              <a:rPr lang="ru-RU" dirty="0" err="1"/>
              <a:t>вих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малис</a:t>
            </a:r>
            <a:r>
              <a:rPr lang="ru-RU" dirty="0"/>
              <a:t> </a:t>
            </a:r>
            <a:r>
              <a:rPr lang="ru-RU" dirty="0" err="1"/>
              <a:t>инцоррупте</a:t>
            </a:r>
            <a:r>
              <a:rPr lang="ru-RU" dirty="0"/>
              <a:t>,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делицата</a:t>
            </a:r>
            <a:r>
              <a:rPr lang="ru-RU" dirty="0"/>
              <a:t> </a:t>
            </a:r>
            <a:r>
              <a:rPr lang="ru-RU" dirty="0" err="1"/>
              <a:t>тинцидунт</a:t>
            </a:r>
            <a:r>
              <a:rPr lang="ru-RU" dirty="0"/>
              <a:t> мел.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промпта</a:t>
            </a:r>
            <a:r>
              <a:rPr lang="ru-RU" dirty="0"/>
              <a:t> </a:t>
            </a:r>
            <a:r>
              <a:rPr lang="ru-RU" dirty="0" err="1"/>
              <a:t>долорум</a:t>
            </a:r>
            <a:r>
              <a:rPr lang="ru-RU" dirty="0"/>
              <a:t> </a:t>
            </a:r>
            <a:r>
              <a:rPr lang="ru-RU" dirty="0" err="1"/>
              <a:t>дефинитионем</a:t>
            </a:r>
            <a:r>
              <a:rPr lang="ru-RU" dirty="0"/>
              <a:t>,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сплендиде</a:t>
            </a:r>
            <a:r>
              <a:rPr lang="ru-RU" dirty="0"/>
              <a:t> </a:t>
            </a:r>
            <a:r>
              <a:rPr lang="ru-RU" dirty="0" err="1"/>
              <a:t>цомпрехенсам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 дуо. </a:t>
            </a:r>
            <a:r>
              <a:rPr lang="ru-RU" dirty="0" err="1"/>
              <a:t>Новум</a:t>
            </a:r>
            <a:r>
              <a:rPr lang="ru-RU" dirty="0"/>
              <a:t> </a:t>
            </a:r>
            <a:r>
              <a:rPr lang="ru-RU" dirty="0" err="1"/>
              <a:t>диспутатиони</a:t>
            </a:r>
            <a:r>
              <a:rPr lang="ru-RU" dirty="0"/>
              <a:t> ан вел. Усу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, ин </a:t>
            </a:r>
            <a:r>
              <a:rPr lang="ru-RU" dirty="0" err="1"/>
              <a:t>яуи</a:t>
            </a:r>
            <a:r>
              <a:rPr lang="ru-RU" dirty="0"/>
              <a:t> модус </a:t>
            </a:r>
            <a:r>
              <a:rPr lang="ru-RU" dirty="0" err="1"/>
              <a:t>интегре</a:t>
            </a:r>
            <a:r>
              <a:rPr lang="ru-RU" dirty="0"/>
              <a:t>. </a:t>
            </a:r>
            <a:r>
              <a:rPr lang="ru-RU" dirty="0" err="1"/>
              <a:t>Саперет</a:t>
            </a:r>
            <a:r>
              <a:rPr lang="ru-RU" dirty="0"/>
              <a:t> </a:t>
            </a:r>
            <a:r>
              <a:rPr lang="ru-RU" dirty="0" err="1"/>
              <a:t>инвенире</a:t>
            </a:r>
            <a:r>
              <a:rPr lang="ru-RU" dirty="0"/>
              <a:t> </a:t>
            </a:r>
            <a:r>
              <a:rPr lang="ru-RU" dirty="0" err="1"/>
              <a:t>неглеген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вел, </a:t>
            </a:r>
            <a:r>
              <a:rPr lang="ru-RU" dirty="0" err="1"/>
              <a:t>ут</a:t>
            </a:r>
            <a:r>
              <a:rPr lang="ru-RU" dirty="0"/>
              <a:t> вис </a:t>
            </a:r>
            <a:r>
              <a:rPr lang="ru-RU" dirty="0" err="1"/>
              <a:t>аперири</a:t>
            </a:r>
            <a:r>
              <a:rPr lang="ru-RU" dirty="0"/>
              <a:t> </a:t>
            </a:r>
            <a:r>
              <a:rPr lang="ru-RU" dirty="0" err="1"/>
              <a:t>фабулас</a:t>
            </a:r>
            <a:r>
              <a:rPr lang="ru-RU" dirty="0"/>
              <a:t> </a:t>
            </a:r>
            <a:r>
              <a:rPr lang="ru-RU" dirty="0" err="1"/>
              <a:t>фабеллас</a:t>
            </a:r>
            <a:r>
              <a:rPr lang="ru-RU" dirty="0"/>
              <a:t>, не </a:t>
            </a:r>
            <a:r>
              <a:rPr lang="ru-RU" dirty="0" err="1"/>
              <a:t>пауло</a:t>
            </a:r>
            <a:r>
              <a:rPr lang="ru-RU" dirty="0"/>
              <a:t> </a:t>
            </a:r>
            <a:r>
              <a:rPr lang="ru-RU" dirty="0" err="1"/>
              <a:t>цаусае</a:t>
            </a:r>
            <a:r>
              <a:rPr lang="ru-RU" dirty="0"/>
              <a:t> вел. </a:t>
            </a:r>
            <a:br>
              <a:rPr lang="ru-RU" dirty="0"/>
            </a:br>
            <a:endParaRPr lang="ru-RU" dirty="0"/>
          </a:p>
          <a:p>
            <a:pPr lvl="0"/>
            <a:r>
              <a:rPr lang="ru-RU" dirty="0"/>
              <a:t>Ад </a:t>
            </a:r>
            <a:r>
              <a:rPr lang="ru-RU" dirty="0" err="1"/>
              <a:t>цум</a:t>
            </a:r>
            <a:r>
              <a:rPr lang="ru-RU" dirty="0"/>
              <a:t> </a:t>
            </a:r>
            <a:r>
              <a:rPr lang="ru-RU" dirty="0" err="1"/>
              <a:t>татион</a:t>
            </a:r>
            <a:r>
              <a:rPr lang="ru-RU" dirty="0"/>
              <a:t> </a:t>
            </a:r>
            <a:r>
              <a:rPr lang="ru-RU" dirty="0" err="1"/>
              <a:t>абхорреант</a:t>
            </a:r>
            <a:r>
              <a:rPr lang="ru-RU" dirty="0"/>
              <a:t>, </a:t>
            </a:r>
            <a:r>
              <a:rPr lang="ru-RU" dirty="0" err="1"/>
              <a:t>нец</a:t>
            </a:r>
            <a:r>
              <a:rPr lang="ru-RU" dirty="0"/>
              <a:t> не </a:t>
            </a:r>
            <a:r>
              <a:rPr lang="ru-RU" dirty="0" err="1"/>
              <a:t>пурто</a:t>
            </a:r>
            <a:r>
              <a:rPr lang="ru-RU" dirty="0"/>
              <a:t> </a:t>
            </a:r>
            <a:r>
              <a:rPr lang="ru-RU" dirty="0" err="1"/>
              <a:t>диссентиунт</a:t>
            </a:r>
            <a:r>
              <a:rPr lang="ru-RU" dirty="0"/>
              <a:t>. Ид </a:t>
            </a:r>
            <a:r>
              <a:rPr lang="ru-RU" dirty="0" err="1"/>
              <a:t>салутанди</a:t>
            </a:r>
            <a:r>
              <a:rPr lang="ru-RU" dirty="0"/>
              <a:t> </a:t>
            </a:r>
            <a:r>
              <a:rPr lang="ru-RU" dirty="0" err="1"/>
              <a:t>витуператорибус</a:t>
            </a:r>
            <a:r>
              <a:rPr lang="ru-RU" dirty="0"/>
              <a:t> ест. Но </a:t>
            </a:r>
            <a:r>
              <a:rPr lang="ru-RU" dirty="0" err="1"/>
              <a:t>яуи</a:t>
            </a:r>
            <a:r>
              <a:rPr lang="ru-RU" dirty="0"/>
              <a:t> </a:t>
            </a:r>
            <a:r>
              <a:rPr lang="ru-RU" dirty="0" err="1"/>
              <a:t>мутат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. Но ест </a:t>
            </a:r>
            <a:r>
              <a:rPr lang="ru-RU" dirty="0" err="1"/>
              <a:t>облияуе</a:t>
            </a:r>
            <a:r>
              <a:rPr lang="ru-RU" dirty="0"/>
              <a:t> </a:t>
            </a:r>
            <a:r>
              <a:rPr lang="ru-RU" dirty="0" err="1"/>
              <a:t>луптатум</a:t>
            </a:r>
            <a:r>
              <a:rPr lang="ru-RU" dirty="0"/>
              <a:t> </a:t>
            </a:r>
            <a:r>
              <a:rPr lang="ru-RU" dirty="0" err="1"/>
              <a:t>цомплецтитур</a:t>
            </a:r>
            <a:r>
              <a:rPr lang="ru-RU" dirty="0"/>
              <a:t>. Вис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сусципит</a:t>
            </a:r>
            <a:r>
              <a:rPr lang="ru-RU" dirty="0"/>
              <a:t> </a:t>
            </a:r>
            <a:r>
              <a:rPr lang="ru-RU" dirty="0" err="1"/>
              <a:t>салутату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</a:t>
            </a:r>
            <a:r>
              <a:rPr lang="ru-RU" dirty="0" err="1"/>
              <a:t>яуаестио</a:t>
            </a:r>
            <a:r>
              <a:rPr lang="ru-RU" dirty="0"/>
              <a:t> </a:t>
            </a:r>
            <a:r>
              <a:rPr lang="ru-RU" dirty="0" err="1"/>
              <a:t>импердие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, но </a:t>
            </a:r>
            <a:r>
              <a:rPr lang="ru-RU" dirty="0" err="1"/>
              <a:t>солум</a:t>
            </a:r>
            <a:r>
              <a:rPr lang="ru-RU" dirty="0"/>
              <a:t> </a:t>
            </a:r>
            <a:r>
              <a:rPr lang="ru-RU" dirty="0" err="1"/>
              <a:t>денияуе</a:t>
            </a:r>
            <a:r>
              <a:rPr lang="ru-RU" dirty="0"/>
              <a:t>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алиа</a:t>
            </a:r>
            <a:r>
              <a:rPr lang="ru-RU" dirty="0"/>
              <a:t> </a:t>
            </a:r>
            <a:r>
              <a:rPr lang="ru-RU" dirty="0" err="1"/>
              <a:t>яуидам</a:t>
            </a:r>
            <a:r>
              <a:rPr lang="ru-RU" dirty="0"/>
              <a:t> </a:t>
            </a:r>
            <a:r>
              <a:rPr lang="ru-RU" dirty="0" err="1"/>
              <a:t>дефинитионе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вис </a:t>
            </a:r>
            <a:r>
              <a:rPr lang="ru-RU" dirty="0" err="1"/>
              <a:t>аугуе</a:t>
            </a:r>
            <a:r>
              <a:rPr lang="ru-RU" dirty="0"/>
              <a:t> </a:t>
            </a:r>
            <a:r>
              <a:rPr lang="ru-RU" dirty="0" err="1"/>
              <a:t>малорум</a:t>
            </a:r>
            <a:r>
              <a:rPr lang="ru-RU" dirty="0"/>
              <a:t> </a:t>
            </a:r>
            <a:r>
              <a:rPr lang="ru-RU" dirty="0" err="1"/>
              <a:t>цивибус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Не </a:t>
            </a:r>
            <a:r>
              <a:rPr lang="ru-RU" dirty="0" err="1"/>
              <a:t>иус</a:t>
            </a:r>
            <a:r>
              <a:rPr lang="ru-RU" dirty="0"/>
              <a:t> </a:t>
            </a:r>
            <a:r>
              <a:rPr lang="ru-RU" dirty="0" err="1"/>
              <a:t>деленит</a:t>
            </a:r>
            <a:r>
              <a:rPr lang="ru-RU" dirty="0"/>
              <a:t> </a:t>
            </a:r>
            <a:r>
              <a:rPr lang="ru-RU" dirty="0" err="1"/>
              <a:t>урбанитас</a:t>
            </a:r>
            <a:r>
              <a:rPr lang="ru-RU" dirty="0"/>
              <a:t>, </a:t>
            </a:r>
            <a:r>
              <a:rPr lang="ru-RU" dirty="0" err="1"/>
              <a:t>ех</a:t>
            </a:r>
            <a:r>
              <a:rPr lang="ru-RU" dirty="0"/>
              <a:t> вел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дебитис</a:t>
            </a:r>
            <a:r>
              <a:rPr lang="ru-RU" dirty="0"/>
              <a:t>, вел </a:t>
            </a:r>
            <a:r>
              <a:rPr lang="ru-RU" dirty="0" err="1"/>
              <a:t>цу</a:t>
            </a:r>
            <a:r>
              <a:rPr lang="ru-RU" dirty="0"/>
              <a:t> тале </a:t>
            </a:r>
            <a:r>
              <a:rPr lang="ru-RU" dirty="0" err="1"/>
              <a:t>либерависсе.Е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маиорум</a:t>
            </a:r>
            <a:r>
              <a:rPr lang="ru-RU" dirty="0"/>
              <a:t> </a:t>
            </a:r>
            <a:r>
              <a:rPr lang="ru-RU" dirty="0" err="1"/>
              <a:t>аццусам</a:t>
            </a:r>
            <a:r>
              <a:rPr lang="ru-RU" dirty="0"/>
              <a:t>, </a:t>
            </a:r>
            <a:r>
              <a:rPr lang="ru-RU" dirty="0" err="1"/>
              <a:t>сцрипта</a:t>
            </a:r>
            <a:r>
              <a:rPr lang="ru-RU" dirty="0"/>
              <a:t> </a:t>
            </a:r>
            <a:r>
              <a:rPr lang="ru-RU" dirty="0" err="1"/>
              <a:t>цоррумпит</a:t>
            </a:r>
            <a:r>
              <a:rPr lang="ru-RU" dirty="0"/>
              <a:t> </a:t>
            </a:r>
            <a:r>
              <a:rPr lang="ru-RU" dirty="0" err="1"/>
              <a:t>симилияуе</a:t>
            </a:r>
            <a:r>
              <a:rPr lang="ru-RU" dirty="0"/>
              <a:t> но </a:t>
            </a:r>
            <a:r>
              <a:rPr lang="ru-RU" dirty="0" err="1"/>
              <a:t>яуо</a:t>
            </a:r>
            <a:r>
              <a:rPr lang="ru-RU" dirty="0"/>
              <a:t>, </a:t>
            </a:r>
            <a:r>
              <a:rPr lang="ru-RU" dirty="0" err="1"/>
              <a:t>иллуд</a:t>
            </a:r>
            <a:r>
              <a:rPr lang="ru-RU" dirty="0"/>
              <a:t> </a:t>
            </a:r>
            <a:r>
              <a:rPr lang="ru-RU" dirty="0" err="1"/>
              <a:t>уллум</a:t>
            </a:r>
            <a:r>
              <a:rPr lang="ru-RU" dirty="0"/>
              <a:t> не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нумяуам</a:t>
            </a:r>
            <a:r>
              <a:rPr lang="ru-RU" dirty="0"/>
              <a:t> </a:t>
            </a:r>
            <a:r>
              <a:rPr lang="ru-RU" dirty="0" err="1"/>
              <a:t>петентиум</a:t>
            </a:r>
            <a:r>
              <a:rPr lang="ru-RU" dirty="0"/>
              <a:t> </a:t>
            </a:r>
            <a:r>
              <a:rPr lang="ru-RU" dirty="0" err="1"/>
              <a:t>хис</a:t>
            </a:r>
            <a:r>
              <a:rPr lang="ru-RU" dirty="0"/>
              <a:t>, </a:t>
            </a:r>
            <a:r>
              <a:rPr lang="ru-RU" dirty="0" err="1"/>
              <a:t>еи</a:t>
            </a:r>
            <a:r>
              <a:rPr lang="ru-RU" dirty="0"/>
              <a:t> минимум </a:t>
            </a:r>
            <a:r>
              <a:rPr lang="ru-RU" dirty="0" err="1"/>
              <a:t>легендос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хас</a:t>
            </a:r>
            <a:r>
              <a:rPr lang="ru-RU" dirty="0"/>
              <a:t>, </a:t>
            </a:r>
            <a:r>
              <a:rPr lang="ru-RU" dirty="0" err="1"/>
              <a:t>улламцорпер</a:t>
            </a:r>
            <a:r>
              <a:rPr lang="ru-RU" dirty="0"/>
              <a:t> </a:t>
            </a:r>
            <a:r>
              <a:rPr lang="ru-RU" dirty="0" err="1"/>
              <a:t>цонсецтетуер</a:t>
            </a:r>
            <a:r>
              <a:rPr lang="ru-RU" dirty="0"/>
              <a:t> те </a:t>
            </a:r>
            <a:r>
              <a:rPr lang="ru-RU" dirty="0" err="1"/>
              <a:t>яуи</a:t>
            </a:r>
            <a:r>
              <a:rPr lang="ru-RU" dirty="0"/>
              <a:t>. Сит но сале </a:t>
            </a:r>
            <a:r>
              <a:rPr lang="ru-RU" dirty="0" err="1"/>
              <a:t>нихил</a:t>
            </a:r>
            <a:r>
              <a:rPr lang="ru-RU" dirty="0"/>
              <a:t>, при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тамяуам</a:t>
            </a:r>
            <a:r>
              <a:rPr lang="ru-RU" dirty="0"/>
              <a:t> </a:t>
            </a:r>
            <a:r>
              <a:rPr lang="ru-RU" dirty="0" err="1"/>
              <a:t>фуиссет</a:t>
            </a:r>
            <a:r>
              <a:rPr lang="ru-RU" dirty="0"/>
              <a:t> </a:t>
            </a:r>
            <a:r>
              <a:rPr lang="ru-RU" dirty="0" err="1"/>
              <a:t>аццусата</a:t>
            </a:r>
            <a:r>
              <a:rPr lang="ru-RU" dirty="0"/>
              <a:t>, не мел </a:t>
            </a:r>
            <a:r>
              <a:rPr lang="ru-RU" dirty="0" err="1"/>
              <a:t>аеяуе</a:t>
            </a:r>
            <a:r>
              <a:rPr lang="ru-RU" dirty="0"/>
              <a:t> </a:t>
            </a:r>
            <a:r>
              <a:rPr lang="ru-RU" dirty="0" err="1"/>
              <a:t>атоморум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 err="1"/>
              <a:t>Лорем</a:t>
            </a:r>
            <a:r>
              <a:rPr lang="ru-RU" dirty="0"/>
              <a:t> </a:t>
            </a:r>
            <a:r>
              <a:rPr lang="ru-RU" dirty="0" err="1"/>
              <a:t>ипсум</a:t>
            </a:r>
            <a:r>
              <a:rPr lang="ru-RU" dirty="0"/>
              <a:t> </a:t>
            </a:r>
            <a:r>
              <a:rPr lang="ru-RU" dirty="0" err="1"/>
              <a:t>долор</a:t>
            </a:r>
            <a:r>
              <a:rPr lang="ru-RU" dirty="0"/>
              <a:t> сит </a:t>
            </a:r>
            <a:r>
              <a:rPr lang="ru-RU" dirty="0" err="1"/>
              <a:t>амет</a:t>
            </a:r>
            <a:r>
              <a:rPr lang="ru-RU" dirty="0"/>
              <a:t>, </a:t>
            </a:r>
            <a:r>
              <a:rPr lang="ru-RU" dirty="0" err="1"/>
              <a:t>вих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малис</a:t>
            </a:r>
            <a:r>
              <a:rPr lang="ru-RU" dirty="0"/>
              <a:t> </a:t>
            </a:r>
            <a:r>
              <a:rPr lang="ru-RU" dirty="0" err="1"/>
              <a:t>инцоррупте</a:t>
            </a:r>
            <a:r>
              <a:rPr lang="ru-RU" dirty="0"/>
              <a:t>,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делицата</a:t>
            </a:r>
            <a:r>
              <a:rPr lang="ru-RU" dirty="0"/>
              <a:t> </a:t>
            </a:r>
            <a:r>
              <a:rPr lang="ru-RU" dirty="0" err="1"/>
              <a:t>тинцидунт</a:t>
            </a:r>
            <a:r>
              <a:rPr lang="ru-RU" dirty="0"/>
              <a:t> мел.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промпта</a:t>
            </a:r>
            <a:r>
              <a:rPr lang="ru-RU" dirty="0"/>
              <a:t> </a:t>
            </a:r>
            <a:r>
              <a:rPr lang="ru-RU" dirty="0" err="1"/>
              <a:t>долорум</a:t>
            </a:r>
            <a:r>
              <a:rPr lang="ru-RU" dirty="0"/>
              <a:t> </a:t>
            </a:r>
            <a:r>
              <a:rPr lang="ru-RU" dirty="0" err="1"/>
              <a:t>дефинитионем</a:t>
            </a:r>
            <a:r>
              <a:rPr lang="ru-RU" dirty="0"/>
              <a:t>,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сплендиде</a:t>
            </a:r>
            <a:r>
              <a:rPr lang="ru-RU" dirty="0"/>
              <a:t> </a:t>
            </a:r>
            <a:r>
              <a:rPr lang="ru-RU" dirty="0" err="1"/>
              <a:t>цомпрехенсам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 дуо. </a:t>
            </a:r>
            <a:r>
              <a:rPr lang="ru-RU" dirty="0" err="1"/>
              <a:t>Новум</a:t>
            </a:r>
            <a:r>
              <a:rPr lang="ru-RU" dirty="0"/>
              <a:t> </a:t>
            </a:r>
            <a:r>
              <a:rPr lang="ru-RU" dirty="0" err="1"/>
              <a:t>диспутатиони</a:t>
            </a:r>
            <a:r>
              <a:rPr lang="ru-RU" dirty="0"/>
              <a:t> ан вел. Усу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, ин </a:t>
            </a:r>
            <a:r>
              <a:rPr lang="ru-RU" dirty="0" err="1"/>
              <a:t>яуи</a:t>
            </a:r>
            <a:r>
              <a:rPr lang="ru-RU" dirty="0"/>
              <a:t> модус </a:t>
            </a:r>
            <a:r>
              <a:rPr lang="ru-RU" dirty="0" err="1"/>
              <a:t>интегре</a:t>
            </a:r>
            <a:r>
              <a:rPr lang="ru-RU" dirty="0"/>
              <a:t>. </a:t>
            </a:r>
            <a:r>
              <a:rPr lang="ru-RU" dirty="0" err="1"/>
              <a:t>Саперет</a:t>
            </a:r>
            <a:r>
              <a:rPr lang="ru-RU" dirty="0"/>
              <a:t> </a:t>
            </a:r>
            <a:r>
              <a:rPr lang="ru-RU" dirty="0" err="1"/>
              <a:t>инвенире</a:t>
            </a:r>
            <a:r>
              <a:rPr lang="ru-RU" dirty="0"/>
              <a:t> </a:t>
            </a:r>
            <a:r>
              <a:rPr lang="ru-RU" dirty="0" err="1"/>
              <a:t>неглеген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вел, </a:t>
            </a:r>
            <a:r>
              <a:rPr lang="ru-RU" dirty="0" err="1"/>
              <a:t>ут</a:t>
            </a:r>
            <a:r>
              <a:rPr lang="ru-RU" dirty="0"/>
              <a:t> вис </a:t>
            </a:r>
            <a:r>
              <a:rPr lang="ru-RU" dirty="0" err="1"/>
              <a:t>аперири</a:t>
            </a:r>
            <a:r>
              <a:rPr lang="ru-RU" dirty="0"/>
              <a:t> </a:t>
            </a:r>
            <a:r>
              <a:rPr lang="ru-RU" dirty="0" err="1"/>
              <a:t>фабулас</a:t>
            </a:r>
            <a:r>
              <a:rPr lang="ru-RU" dirty="0"/>
              <a:t> </a:t>
            </a:r>
            <a:r>
              <a:rPr lang="ru-RU" dirty="0" err="1"/>
              <a:t>фабеллас</a:t>
            </a:r>
            <a:r>
              <a:rPr lang="ru-RU" dirty="0"/>
              <a:t>, не </a:t>
            </a:r>
            <a:r>
              <a:rPr lang="ru-RU" dirty="0" err="1"/>
              <a:t>пауло</a:t>
            </a:r>
            <a:r>
              <a:rPr lang="ru-RU" dirty="0"/>
              <a:t> </a:t>
            </a:r>
            <a:r>
              <a:rPr lang="ru-RU" dirty="0" err="1"/>
              <a:t>цаусае</a:t>
            </a:r>
            <a:r>
              <a:rPr lang="ru-RU" dirty="0"/>
              <a:t> вел. </a:t>
            </a:r>
            <a:br>
              <a:rPr lang="ru-RU" dirty="0"/>
            </a:br>
            <a:endParaRPr lang="ru-RU" dirty="0"/>
          </a:p>
          <a:p>
            <a:pPr lvl="0"/>
            <a:r>
              <a:rPr lang="ru-RU" dirty="0"/>
              <a:t>Ад </a:t>
            </a:r>
            <a:r>
              <a:rPr lang="ru-RU" dirty="0" err="1"/>
              <a:t>цум</a:t>
            </a:r>
            <a:r>
              <a:rPr lang="ru-RU" dirty="0"/>
              <a:t> </a:t>
            </a:r>
            <a:r>
              <a:rPr lang="ru-RU" dirty="0" err="1"/>
              <a:t>татион</a:t>
            </a:r>
            <a:r>
              <a:rPr lang="ru-RU" dirty="0"/>
              <a:t> </a:t>
            </a:r>
            <a:r>
              <a:rPr lang="ru-RU" dirty="0" err="1"/>
              <a:t>абхорреант</a:t>
            </a:r>
            <a:r>
              <a:rPr lang="ru-RU" dirty="0"/>
              <a:t>, </a:t>
            </a:r>
            <a:r>
              <a:rPr lang="ru-RU" dirty="0" err="1"/>
              <a:t>нец</a:t>
            </a:r>
            <a:r>
              <a:rPr lang="ru-RU" dirty="0"/>
              <a:t> не </a:t>
            </a:r>
            <a:r>
              <a:rPr lang="ru-RU" dirty="0" err="1"/>
              <a:t>пурто</a:t>
            </a:r>
            <a:r>
              <a:rPr lang="ru-RU" dirty="0"/>
              <a:t> </a:t>
            </a:r>
            <a:r>
              <a:rPr lang="ru-RU" dirty="0" err="1"/>
              <a:t>диссентиунт</a:t>
            </a:r>
            <a:r>
              <a:rPr lang="ru-RU" dirty="0"/>
              <a:t>. Ид </a:t>
            </a:r>
            <a:r>
              <a:rPr lang="ru-RU" dirty="0" err="1"/>
              <a:t>салутанди</a:t>
            </a:r>
            <a:r>
              <a:rPr lang="ru-RU" dirty="0"/>
              <a:t> </a:t>
            </a:r>
            <a:r>
              <a:rPr lang="ru-RU" dirty="0" err="1"/>
              <a:t>витуператорибус</a:t>
            </a:r>
            <a:r>
              <a:rPr lang="ru-RU" dirty="0"/>
              <a:t> ест. Но </a:t>
            </a:r>
            <a:r>
              <a:rPr lang="ru-RU" dirty="0" err="1"/>
              <a:t>яуи</a:t>
            </a:r>
            <a:r>
              <a:rPr lang="ru-RU" dirty="0"/>
              <a:t> </a:t>
            </a:r>
            <a:r>
              <a:rPr lang="ru-RU" dirty="0" err="1"/>
              <a:t>мутат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. Но ест </a:t>
            </a:r>
            <a:r>
              <a:rPr lang="ru-RU" dirty="0" err="1"/>
              <a:t>облияуе</a:t>
            </a:r>
            <a:r>
              <a:rPr lang="ru-RU" dirty="0"/>
              <a:t> </a:t>
            </a:r>
            <a:r>
              <a:rPr lang="ru-RU" dirty="0" err="1"/>
              <a:t>луптатум</a:t>
            </a:r>
            <a:r>
              <a:rPr lang="ru-RU" dirty="0"/>
              <a:t> </a:t>
            </a:r>
            <a:r>
              <a:rPr lang="ru-RU" dirty="0" err="1"/>
              <a:t>цомплецтитур</a:t>
            </a:r>
            <a:r>
              <a:rPr lang="ru-RU" dirty="0"/>
              <a:t>. Вис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сусципит</a:t>
            </a:r>
            <a:r>
              <a:rPr lang="ru-RU" dirty="0"/>
              <a:t> </a:t>
            </a:r>
            <a:r>
              <a:rPr lang="ru-RU" dirty="0" err="1"/>
              <a:t>салутату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</a:t>
            </a:r>
            <a:r>
              <a:rPr lang="ru-RU" dirty="0" err="1"/>
              <a:t>яуаестио</a:t>
            </a:r>
            <a:r>
              <a:rPr lang="ru-RU" dirty="0"/>
              <a:t> </a:t>
            </a:r>
            <a:r>
              <a:rPr lang="ru-RU" dirty="0" err="1"/>
              <a:t>импердие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, но </a:t>
            </a:r>
            <a:r>
              <a:rPr lang="ru-RU" dirty="0" err="1"/>
              <a:t>солум</a:t>
            </a:r>
            <a:r>
              <a:rPr lang="ru-RU" dirty="0"/>
              <a:t> </a:t>
            </a:r>
            <a:r>
              <a:rPr lang="ru-RU" dirty="0" err="1"/>
              <a:t>денияуе</a:t>
            </a:r>
            <a:r>
              <a:rPr lang="ru-RU" dirty="0"/>
              <a:t>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алиа</a:t>
            </a:r>
            <a:r>
              <a:rPr lang="ru-RU" dirty="0"/>
              <a:t> </a:t>
            </a:r>
            <a:r>
              <a:rPr lang="ru-RU" dirty="0" err="1"/>
              <a:t>яуидам</a:t>
            </a:r>
            <a:r>
              <a:rPr lang="ru-RU" dirty="0"/>
              <a:t> </a:t>
            </a:r>
            <a:r>
              <a:rPr lang="ru-RU" dirty="0" err="1"/>
              <a:t>дефинитионе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вис </a:t>
            </a:r>
            <a:r>
              <a:rPr lang="ru-RU" dirty="0" err="1"/>
              <a:t>аугуе</a:t>
            </a:r>
            <a:r>
              <a:rPr lang="ru-RU" dirty="0"/>
              <a:t> </a:t>
            </a:r>
            <a:r>
              <a:rPr lang="ru-RU" dirty="0" err="1"/>
              <a:t>малорум</a:t>
            </a:r>
            <a:r>
              <a:rPr lang="ru-RU" dirty="0"/>
              <a:t> </a:t>
            </a:r>
            <a:r>
              <a:rPr lang="ru-RU" dirty="0" err="1"/>
              <a:t>цивибус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Не </a:t>
            </a:r>
            <a:r>
              <a:rPr lang="ru-RU" dirty="0" err="1"/>
              <a:t>иус</a:t>
            </a:r>
            <a:r>
              <a:rPr lang="ru-RU" dirty="0"/>
              <a:t> </a:t>
            </a:r>
            <a:r>
              <a:rPr lang="ru-RU" dirty="0" err="1"/>
              <a:t>деленит</a:t>
            </a:r>
            <a:r>
              <a:rPr lang="ru-RU" dirty="0"/>
              <a:t> </a:t>
            </a:r>
            <a:r>
              <a:rPr lang="ru-RU" dirty="0" err="1"/>
              <a:t>урбанитас</a:t>
            </a:r>
            <a:r>
              <a:rPr lang="ru-RU" dirty="0"/>
              <a:t>, </a:t>
            </a:r>
            <a:r>
              <a:rPr lang="ru-RU" dirty="0" err="1"/>
              <a:t>ех</a:t>
            </a:r>
            <a:r>
              <a:rPr lang="ru-RU" dirty="0"/>
              <a:t> вел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дебитис</a:t>
            </a:r>
            <a:r>
              <a:rPr lang="ru-RU" dirty="0"/>
              <a:t>, вел </a:t>
            </a:r>
            <a:r>
              <a:rPr lang="ru-RU" dirty="0" err="1"/>
              <a:t>цу</a:t>
            </a:r>
            <a:r>
              <a:rPr lang="ru-RU" dirty="0"/>
              <a:t> тале </a:t>
            </a:r>
            <a:r>
              <a:rPr lang="ru-RU" dirty="0" err="1"/>
              <a:t>либерависсе.Е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маиорум</a:t>
            </a:r>
            <a:r>
              <a:rPr lang="ru-RU" dirty="0"/>
              <a:t> </a:t>
            </a:r>
            <a:r>
              <a:rPr lang="ru-RU" dirty="0" err="1"/>
              <a:t>аццусам</a:t>
            </a:r>
            <a:r>
              <a:rPr lang="ru-RU" dirty="0"/>
              <a:t>, </a:t>
            </a:r>
            <a:r>
              <a:rPr lang="ru-RU" dirty="0" err="1"/>
              <a:t>сцрипта</a:t>
            </a:r>
            <a:r>
              <a:rPr lang="ru-RU" dirty="0"/>
              <a:t> </a:t>
            </a:r>
            <a:r>
              <a:rPr lang="ru-RU" dirty="0" err="1"/>
              <a:t>цоррумпит</a:t>
            </a:r>
            <a:r>
              <a:rPr lang="ru-RU" dirty="0"/>
              <a:t> </a:t>
            </a:r>
            <a:r>
              <a:rPr lang="ru-RU" dirty="0" err="1"/>
              <a:t>симилияуе</a:t>
            </a:r>
            <a:r>
              <a:rPr lang="ru-RU" dirty="0"/>
              <a:t> но </a:t>
            </a:r>
            <a:r>
              <a:rPr lang="ru-RU" dirty="0" err="1"/>
              <a:t>яуо</a:t>
            </a:r>
            <a:r>
              <a:rPr lang="ru-RU" dirty="0"/>
              <a:t>, </a:t>
            </a:r>
            <a:r>
              <a:rPr lang="ru-RU" dirty="0" err="1"/>
              <a:t>иллуд</a:t>
            </a:r>
            <a:r>
              <a:rPr lang="ru-RU" dirty="0"/>
              <a:t> </a:t>
            </a:r>
            <a:r>
              <a:rPr lang="ru-RU" dirty="0" err="1"/>
              <a:t>уллум</a:t>
            </a:r>
            <a:r>
              <a:rPr lang="ru-RU" dirty="0"/>
              <a:t> не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нумяуам</a:t>
            </a:r>
            <a:r>
              <a:rPr lang="ru-RU" dirty="0"/>
              <a:t> </a:t>
            </a:r>
            <a:r>
              <a:rPr lang="ru-RU" dirty="0" err="1"/>
              <a:t>петентиум</a:t>
            </a:r>
            <a:r>
              <a:rPr lang="ru-RU" dirty="0"/>
              <a:t> </a:t>
            </a:r>
            <a:r>
              <a:rPr lang="ru-RU" dirty="0" err="1"/>
              <a:t>хис</a:t>
            </a:r>
            <a:r>
              <a:rPr lang="ru-RU" dirty="0"/>
              <a:t>, </a:t>
            </a:r>
            <a:r>
              <a:rPr lang="ru-RU" dirty="0" err="1"/>
              <a:t>еи</a:t>
            </a:r>
            <a:r>
              <a:rPr lang="ru-RU" dirty="0"/>
              <a:t> минимум </a:t>
            </a:r>
            <a:r>
              <a:rPr lang="ru-RU" dirty="0" err="1"/>
              <a:t>легендос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хас</a:t>
            </a:r>
            <a:r>
              <a:rPr lang="ru-RU" dirty="0"/>
              <a:t>, </a:t>
            </a:r>
            <a:r>
              <a:rPr lang="ru-RU" dirty="0" err="1"/>
              <a:t>улламцорпер</a:t>
            </a:r>
            <a:r>
              <a:rPr lang="ru-RU" dirty="0"/>
              <a:t> </a:t>
            </a:r>
            <a:r>
              <a:rPr lang="ru-RU" dirty="0" err="1"/>
              <a:t>цонсецтетуер</a:t>
            </a:r>
            <a:r>
              <a:rPr lang="ru-RU" dirty="0"/>
              <a:t> те </a:t>
            </a:r>
            <a:r>
              <a:rPr lang="ru-RU" dirty="0" err="1"/>
              <a:t>яуи</a:t>
            </a:r>
            <a:r>
              <a:rPr lang="ru-RU" dirty="0"/>
              <a:t>. Сит но сале </a:t>
            </a:r>
            <a:r>
              <a:rPr lang="ru-RU" dirty="0" err="1"/>
              <a:t>нихил</a:t>
            </a:r>
            <a:r>
              <a:rPr lang="ru-RU" dirty="0"/>
              <a:t>, при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тамяуам</a:t>
            </a:r>
            <a:r>
              <a:rPr lang="ru-RU" dirty="0"/>
              <a:t> </a:t>
            </a:r>
            <a:r>
              <a:rPr lang="ru-RU" dirty="0" err="1"/>
              <a:t>фуиссет</a:t>
            </a:r>
            <a:r>
              <a:rPr lang="ru-RU" dirty="0"/>
              <a:t> </a:t>
            </a:r>
            <a:r>
              <a:rPr lang="ru-RU" dirty="0" err="1"/>
              <a:t>аццусата</a:t>
            </a:r>
            <a:r>
              <a:rPr lang="ru-RU" dirty="0"/>
              <a:t>, не мел </a:t>
            </a:r>
            <a:r>
              <a:rPr lang="ru-RU" dirty="0" err="1"/>
              <a:t>аеяуе</a:t>
            </a:r>
            <a:r>
              <a:rPr lang="ru-RU" dirty="0"/>
              <a:t> </a:t>
            </a:r>
            <a:r>
              <a:rPr lang="ru-RU" dirty="0" err="1"/>
              <a:t>атоморум</a:t>
            </a:r>
            <a:r>
              <a:rPr lang="ru-RU" dirty="0"/>
              <a:t>. </a:t>
            </a:r>
            <a:br>
              <a:rPr lang="ru-RU" dirty="0"/>
            </a:b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247336"/>
            <a:ext cx="5486400" cy="3854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 typeface="Arial"/>
              <a:buNone/>
              <a:defRPr sz="1680" b="0">
                <a:solidFill>
                  <a:schemeClr val="accent1"/>
                </a:solidFill>
              </a:defRPr>
            </a:lvl1pPr>
            <a:lvl2pPr marL="548626" indent="0">
              <a:buFont typeface="Arial"/>
              <a:buNone/>
              <a:defRPr b="1"/>
            </a:lvl2pPr>
            <a:lvl3pPr marL="1097253" indent="0">
              <a:buFont typeface="Arial"/>
              <a:buNone/>
              <a:defRPr b="1"/>
            </a:lvl3pPr>
            <a:lvl4pPr marL="1645879" indent="0">
              <a:buFont typeface="Arial"/>
              <a:buNone/>
              <a:defRPr b="1"/>
            </a:lvl4pPr>
            <a:lvl5pPr marL="2194505" indent="0">
              <a:buFont typeface="Arial"/>
              <a:buNone/>
              <a:defRPr b="1"/>
            </a:lvl5pPr>
          </a:lstStyle>
          <a:p>
            <a:pPr lvl="0"/>
            <a:r>
              <a:rPr lang="bg-BG" dirty="0"/>
              <a:t>Подзаголовок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sp>
        <p:nvSpPr>
          <p:cNvPr id="17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973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675027"/>
            <a:ext cx="5181600" cy="46194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40">
                <a:solidFill>
                  <a:srgbClr val="001D4D"/>
                </a:solidFill>
              </a:defRPr>
            </a:lvl1pPr>
            <a:lvl2pPr marL="548626" indent="0">
              <a:buNone/>
              <a:defRPr sz="1680"/>
            </a:lvl2pPr>
            <a:lvl3pPr marL="1097253" indent="0">
              <a:buNone/>
              <a:defRPr sz="1920"/>
            </a:lvl3pPr>
            <a:lvl4pPr marL="1645879" indent="0">
              <a:buNone/>
              <a:defRPr sz="1920"/>
            </a:lvl4pPr>
            <a:lvl5pPr marL="2194505" indent="0">
              <a:buNone/>
              <a:defRPr sz="1920"/>
            </a:lvl5pPr>
          </a:lstStyle>
          <a:p>
            <a:pPr lvl="0"/>
            <a:r>
              <a:rPr lang="ru-RU" dirty="0" err="1"/>
              <a:t>Лорем</a:t>
            </a:r>
            <a:r>
              <a:rPr lang="ru-RU" dirty="0"/>
              <a:t> </a:t>
            </a:r>
            <a:r>
              <a:rPr lang="ru-RU" dirty="0" err="1"/>
              <a:t>ипсум</a:t>
            </a:r>
            <a:r>
              <a:rPr lang="ru-RU" dirty="0"/>
              <a:t> </a:t>
            </a:r>
            <a:r>
              <a:rPr lang="ru-RU" dirty="0" err="1"/>
              <a:t>долор</a:t>
            </a:r>
            <a:r>
              <a:rPr lang="ru-RU" dirty="0"/>
              <a:t> сит </a:t>
            </a:r>
            <a:r>
              <a:rPr lang="ru-RU" dirty="0" err="1"/>
              <a:t>амет</a:t>
            </a:r>
            <a:r>
              <a:rPr lang="ru-RU" dirty="0"/>
              <a:t>, </a:t>
            </a:r>
            <a:r>
              <a:rPr lang="ru-RU" dirty="0" err="1"/>
              <a:t>вих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малис</a:t>
            </a:r>
            <a:r>
              <a:rPr lang="ru-RU" dirty="0"/>
              <a:t> </a:t>
            </a:r>
            <a:r>
              <a:rPr lang="ru-RU" dirty="0" err="1"/>
              <a:t>инцоррупте</a:t>
            </a:r>
            <a:r>
              <a:rPr lang="ru-RU" dirty="0"/>
              <a:t>,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делицата</a:t>
            </a:r>
            <a:r>
              <a:rPr lang="ru-RU" dirty="0"/>
              <a:t> </a:t>
            </a:r>
            <a:r>
              <a:rPr lang="ru-RU" dirty="0" err="1"/>
              <a:t>тинцидунт</a:t>
            </a:r>
            <a:r>
              <a:rPr lang="ru-RU" dirty="0"/>
              <a:t> мел.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промпта</a:t>
            </a:r>
            <a:r>
              <a:rPr lang="ru-RU" dirty="0"/>
              <a:t> </a:t>
            </a:r>
            <a:r>
              <a:rPr lang="ru-RU" dirty="0" err="1"/>
              <a:t>долорум</a:t>
            </a:r>
            <a:r>
              <a:rPr lang="ru-RU" dirty="0"/>
              <a:t> </a:t>
            </a:r>
            <a:r>
              <a:rPr lang="ru-RU" dirty="0" err="1"/>
              <a:t>дефинитионем</a:t>
            </a:r>
            <a:r>
              <a:rPr lang="ru-RU" dirty="0"/>
              <a:t>,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сплендиде</a:t>
            </a:r>
            <a:r>
              <a:rPr lang="ru-RU" dirty="0"/>
              <a:t> </a:t>
            </a:r>
            <a:r>
              <a:rPr lang="ru-RU" dirty="0" err="1"/>
              <a:t>цомпрехенсам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 дуо. </a:t>
            </a:r>
            <a:r>
              <a:rPr lang="ru-RU" dirty="0" err="1"/>
              <a:t>Новум</a:t>
            </a:r>
            <a:r>
              <a:rPr lang="ru-RU" dirty="0"/>
              <a:t> </a:t>
            </a:r>
            <a:r>
              <a:rPr lang="ru-RU" dirty="0" err="1"/>
              <a:t>диспутатиони</a:t>
            </a:r>
            <a:r>
              <a:rPr lang="ru-RU" dirty="0"/>
              <a:t> ан вел. Усу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, ин </a:t>
            </a:r>
            <a:r>
              <a:rPr lang="ru-RU" dirty="0" err="1"/>
              <a:t>яуи</a:t>
            </a:r>
            <a:r>
              <a:rPr lang="ru-RU" dirty="0"/>
              <a:t> модус </a:t>
            </a:r>
            <a:r>
              <a:rPr lang="ru-RU" dirty="0" err="1"/>
              <a:t>интегре</a:t>
            </a:r>
            <a:r>
              <a:rPr lang="ru-RU" dirty="0"/>
              <a:t>. </a:t>
            </a:r>
            <a:r>
              <a:rPr lang="ru-RU" dirty="0" err="1"/>
              <a:t>Саперет</a:t>
            </a:r>
            <a:r>
              <a:rPr lang="ru-RU" dirty="0"/>
              <a:t> </a:t>
            </a:r>
            <a:r>
              <a:rPr lang="ru-RU" dirty="0" err="1"/>
              <a:t>инвенире</a:t>
            </a:r>
            <a:r>
              <a:rPr lang="ru-RU" dirty="0"/>
              <a:t> </a:t>
            </a:r>
            <a:r>
              <a:rPr lang="ru-RU" dirty="0" err="1"/>
              <a:t>неглеген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вел, </a:t>
            </a:r>
            <a:r>
              <a:rPr lang="ru-RU" dirty="0" err="1"/>
              <a:t>ут</a:t>
            </a:r>
            <a:r>
              <a:rPr lang="ru-RU" dirty="0"/>
              <a:t> вис </a:t>
            </a:r>
            <a:r>
              <a:rPr lang="ru-RU" dirty="0" err="1"/>
              <a:t>аперири</a:t>
            </a:r>
            <a:r>
              <a:rPr lang="ru-RU" dirty="0"/>
              <a:t> </a:t>
            </a:r>
            <a:r>
              <a:rPr lang="ru-RU" dirty="0" err="1"/>
              <a:t>фабулас</a:t>
            </a:r>
            <a:r>
              <a:rPr lang="ru-RU" dirty="0"/>
              <a:t> </a:t>
            </a:r>
            <a:r>
              <a:rPr lang="ru-RU" dirty="0" err="1"/>
              <a:t>фабеллас</a:t>
            </a:r>
            <a:r>
              <a:rPr lang="ru-RU" dirty="0"/>
              <a:t>, не </a:t>
            </a:r>
            <a:r>
              <a:rPr lang="ru-RU" dirty="0" err="1"/>
              <a:t>пауло</a:t>
            </a:r>
            <a:r>
              <a:rPr lang="ru-RU" dirty="0"/>
              <a:t> </a:t>
            </a:r>
            <a:r>
              <a:rPr lang="ru-RU" dirty="0" err="1"/>
              <a:t>цаусае</a:t>
            </a:r>
            <a:r>
              <a:rPr lang="ru-RU" dirty="0"/>
              <a:t> вел. Ин </a:t>
            </a:r>
            <a:r>
              <a:rPr lang="ru-RU" dirty="0" err="1"/>
              <a:t>адхуц</a:t>
            </a:r>
            <a:r>
              <a:rPr lang="ru-RU" dirty="0"/>
              <a:t> </a:t>
            </a:r>
            <a:r>
              <a:rPr lang="ru-RU" dirty="0" err="1"/>
              <a:t>еррор</a:t>
            </a:r>
            <a:r>
              <a:rPr lang="ru-RU" dirty="0"/>
              <a:t> </a:t>
            </a:r>
            <a:r>
              <a:rPr lang="ru-RU" dirty="0" err="1"/>
              <a:t>волутпа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. </a:t>
            </a:r>
            <a:r>
              <a:rPr lang="en-US" dirty="0"/>
              <a:t/>
            </a:r>
            <a:br>
              <a:rPr lang="en-US" dirty="0"/>
            </a:br>
            <a:endParaRPr lang="ru-RU" dirty="0"/>
          </a:p>
          <a:p>
            <a:pPr lvl="0"/>
            <a:r>
              <a:rPr lang="ru-RU" dirty="0"/>
              <a:t>Ад </a:t>
            </a:r>
            <a:r>
              <a:rPr lang="ru-RU" dirty="0" err="1"/>
              <a:t>цум</a:t>
            </a:r>
            <a:r>
              <a:rPr lang="ru-RU" dirty="0"/>
              <a:t> </a:t>
            </a:r>
            <a:r>
              <a:rPr lang="ru-RU" dirty="0" err="1"/>
              <a:t>татион</a:t>
            </a:r>
            <a:r>
              <a:rPr lang="ru-RU" dirty="0"/>
              <a:t> </a:t>
            </a:r>
            <a:r>
              <a:rPr lang="ru-RU" dirty="0" err="1"/>
              <a:t>абхорреант</a:t>
            </a:r>
            <a:r>
              <a:rPr lang="ru-RU" dirty="0"/>
              <a:t>, </a:t>
            </a:r>
            <a:r>
              <a:rPr lang="ru-RU" dirty="0" err="1"/>
              <a:t>нец</a:t>
            </a:r>
            <a:r>
              <a:rPr lang="ru-RU" dirty="0"/>
              <a:t> не </a:t>
            </a:r>
            <a:r>
              <a:rPr lang="ru-RU" dirty="0" err="1"/>
              <a:t>пурто</a:t>
            </a:r>
            <a:r>
              <a:rPr lang="ru-RU" dirty="0"/>
              <a:t> </a:t>
            </a:r>
            <a:r>
              <a:rPr lang="ru-RU" dirty="0" err="1"/>
              <a:t>диссентиунт</a:t>
            </a:r>
            <a:r>
              <a:rPr lang="ru-RU" dirty="0"/>
              <a:t>. Ид </a:t>
            </a:r>
            <a:r>
              <a:rPr lang="ru-RU" dirty="0" err="1"/>
              <a:t>салутанди</a:t>
            </a:r>
            <a:r>
              <a:rPr lang="ru-RU" dirty="0"/>
              <a:t> </a:t>
            </a:r>
            <a:r>
              <a:rPr lang="ru-RU" dirty="0" err="1"/>
              <a:t>витуператорибус</a:t>
            </a:r>
            <a:r>
              <a:rPr lang="ru-RU" dirty="0"/>
              <a:t> ест. Но </a:t>
            </a:r>
            <a:r>
              <a:rPr lang="ru-RU" dirty="0" err="1"/>
              <a:t>яуи</a:t>
            </a:r>
            <a:r>
              <a:rPr lang="ru-RU" dirty="0"/>
              <a:t> </a:t>
            </a:r>
            <a:r>
              <a:rPr lang="ru-RU" dirty="0" err="1"/>
              <a:t>мутат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. Но ест </a:t>
            </a:r>
            <a:r>
              <a:rPr lang="ru-RU" dirty="0" err="1"/>
              <a:t>облияуе</a:t>
            </a:r>
            <a:r>
              <a:rPr lang="ru-RU" dirty="0"/>
              <a:t> </a:t>
            </a:r>
            <a:r>
              <a:rPr lang="ru-RU" dirty="0" err="1"/>
              <a:t>луптатум</a:t>
            </a:r>
            <a:r>
              <a:rPr lang="ru-RU" dirty="0"/>
              <a:t> </a:t>
            </a:r>
            <a:r>
              <a:rPr lang="ru-RU" dirty="0" err="1"/>
              <a:t>цомплецтитур</a:t>
            </a:r>
            <a:r>
              <a:rPr lang="ru-RU" dirty="0"/>
              <a:t>. Вис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сусципит</a:t>
            </a:r>
            <a:r>
              <a:rPr lang="ru-RU" dirty="0"/>
              <a:t> </a:t>
            </a:r>
            <a:r>
              <a:rPr lang="ru-RU" dirty="0" err="1"/>
              <a:t>салутату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</a:t>
            </a:r>
            <a:r>
              <a:rPr lang="ru-RU" dirty="0" err="1"/>
              <a:t>яуаестио</a:t>
            </a:r>
            <a:r>
              <a:rPr lang="ru-RU" dirty="0"/>
              <a:t> </a:t>
            </a:r>
            <a:r>
              <a:rPr lang="ru-RU" dirty="0" err="1"/>
              <a:t>импердие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, но </a:t>
            </a:r>
            <a:r>
              <a:rPr lang="ru-RU" dirty="0" err="1"/>
              <a:t>солум</a:t>
            </a:r>
            <a:r>
              <a:rPr lang="ru-RU" dirty="0"/>
              <a:t> </a:t>
            </a:r>
            <a:r>
              <a:rPr lang="ru-RU" dirty="0" err="1"/>
              <a:t>денияуе</a:t>
            </a:r>
            <a:r>
              <a:rPr lang="ru-RU" dirty="0"/>
              <a:t>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алиа</a:t>
            </a:r>
            <a:r>
              <a:rPr lang="ru-RU" dirty="0"/>
              <a:t> </a:t>
            </a:r>
            <a:r>
              <a:rPr lang="ru-RU" dirty="0" err="1"/>
              <a:t>яуидам</a:t>
            </a:r>
            <a:r>
              <a:rPr lang="ru-RU" dirty="0"/>
              <a:t> </a:t>
            </a:r>
            <a:r>
              <a:rPr lang="ru-RU" dirty="0" err="1"/>
              <a:t>дефинитионе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вис </a:t>
            </a:r>
            <a:r>
              <a:rPr lang="ru-RU" dirty="0" err="1"/>
              <a:t>аугуе</a:t>
            </a:r>
            <a:r>
              <a:rPr lang="ru-RU" dirty="0"/>
              <a:t> </a:t>
            </a:r>
            <a:r>
              <a:rPr lang="ru-RU" dirty="0" err="1"/>
              <a:t>малорум</a:t>
            </a:r>
            <a:r>
              <a:rPr lang="ru-RU" dirty="0"/>
              <a:t> </a:t>
            </a:r>
            <a:r>
              <a:rPr lang="ru-RU" dirty="0" err="1"/>
              <a:t>цивибус</a:t>
            </a:r>
            <a:r>
              <a:rPr lang="ru-RU" dirty="0"/>
              <a:t>. Не </a:t>
            </a:r>
            <a:r>
              <a:rPr lang="ru-RU" dirty="0" err="1"/>
              <a:t>иус</a:t>
            </a:r>
            <a:r>
              <a:rPr lang="ru-RU" dirty="0"/>
              <a:t> </a:t>
            </a:r>
            <a:r>
              <a:rPr lang="ru-RU" dirty="0" err="1"/>
              <a:t>деленит</a:t>
            </a:r>
            <a:r>
              <a:rPr lang="ru-RU" dirty="0"/>
              <a:t> </a:t>
            </a:r>
            <a:r>
              <a:rPr lang="ru-RU" dirty="0" err="1"/>
              <a:t>урбанитас</a:t>
            </a:r>
            <a:r>
              <a:rPr lang="ru-RU" dirty="0"/>
              <a:t>, </a:t>
            </a:r>
            <a:r>
              <a:rPr lang="ru-RU" dirty="0" err="1"/>
              <a:t>ех</a:t>
            </a:r>
            <a:r>
              <a:rPr lang="ru-RU" dirty="0"/>
              <a:t> вел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дебитис</a:t>
            </a:r>
            <a:r>
              <a:rPr lang="ru-RU" dirty="0"/>
              <a:t>, вел </a:t>
            </a:r>
            <a:r>
              <a:rPr lang="ru-RU" dirty="0" err="1"/>
              <a:t>цу</a:t>
            </a:r>
            <a:r>
              <a:rPr lang="ru-RU" dirty="0"/>
              <a:t> тале </a:t>
            </a:r>
            <a:r>
              <a:rPr lang="ru-RU" dirty="0" err="1"/>
              <a:t>либерависсе</a:t>
            </a:r>
            <a:r>
              <a:rPr lang="ru-RU" dirty="0"/>
              <a:t>.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04241" y="1675027"/>
            <a:ext cx="5071763" cy="461909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548626" indent="0" algn="ctr">
              <a:buNone/>
              <a:defRPr sz="1800"/>
            </a:lvl2pPr>
            <a:lvl3pPr marL="1097253" indent="0" algn="ctr">
              <a:buNone/>
              <a:defRPr sz="1800"/>
            </a:lvl3pPr>
            <a:lvl4pPr marL="1645879" indent="0" algn="ctr">
              <a:buNone/>
              <a:defRPr sz="1800"/>
            </a:lvl4pPr>
            <a:lvl5pPr marL="2194505" indent="0" algn="ctr">
              <a:buNone/>
              <a:defRPr sz="1800"/>
            </a:lvl5pPr>
          </a:lstStyle>
          <a:p>
            <a:pPr lvl="0"/>
            <a:r>
              <a:rPr lang="en-US" dirty="0"/>
              <a:t>Content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5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sp>
        <p:nvSpPr>
          <p:cNvPr id="18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767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587558"/>
            <a:ext cx="5181600" cy="4832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40">
                <a:solidFill>
                  <a:srgbClr val="001D4D"/>
                </a:solidFill>
              </a:defRPr>
            </a:lvl1pPr>
            <a:lvl2pPr marL="548626" indent="0">
              <a:buNone/>
              <a:defRPr sz="1680"/>
            </a:lvl2pPr>
            <a:lvl3pPr marL="1097253" indent="0">
              <a:buNone/>
              <a:defRPr sz="1920"/>
            </a:lvl3pPr>
            <a:lvl4pPr marL="1645879" indent="0">
              <a:buNone/>
              <a:defRPr sz="1920"/>
            </a:lvl4pPr>
            <a:lvl5pPr marL="2194505" indent="0">
              <a:buNone/>
              <a:defRPr sz="1920"/>
            </a:lvl5pPr>
          </a:lstStyle>
          <a:p>
            <a:pPr lvl="0"/>
            <a:r>
              <a:rPr lang="ru-RU" dirty="0" err="1"/>
              <a:t>Лорем</a:t>
            </a:r>
            <a:r>
              <a:rPr lang="ru-RU" dirty="0"/>
              <a:t> </a:t>
            </a:r>
            <a:r>
              <a:rPr lang="ru-RU" dirty="0" err="1"/>
              <a:t>ипсум</a:t>
            </a:r>
            <a:r>
              <a:rPr lang="ru-RU" dirty="0"/>
              <a:t> </a:t>
            </a:r>
            <a:r>
              <a:rPr lang="ru-RU" dirty="0" err="1"/>
              <a:t>долор</a:t>
            </a:r>
            <a:r>
              <a:rPr lang="ru-RU" dirty="0"/>
              <a:t> сит </a:t>
            </a:r>
            <a:r>
              <a:rPr lang="ru-RU" dirty="0" err="1"/>
              <a:t>амет</a:t>
            </a:r>
            <a:r>
              <a:rPr lang="ru-RU" dirty="0"/>
              <a:t>, </a:t>
            </a:r>
            <a:r>
              <a:rPr lang="ru-RU" dirty="0" err="1"/>
              <a:t>вих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малис</a:t>
            </a:r>
            <a:r>
              <a:rPr lang="ru-RU" dirty="0"/>
              <a:t> </a:t>
            </a:r>
            <a:r>
              <a:rPr lang="ru-RU" dirty="0" err="1"/>
              <a:t>инцоррупте</a:t>
            </a:r>
            <a:r>
              <a:rPr lang="ru-RU" dirty="0"/>
              <a:t>,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делицата</a:t>
            </a:r>
            <a:r>
              <a:rPr lang="ru-RU" dirty="0"/>
              <a:t> </a:t>
            </a:r>
            <a:r>
              <a:rPr lang="ru-RU" dirty="0" err="1"/>
              <a:t>тинцидунт</a:t>
            </a:r>
            <a:r>
              <a:rPr lang="ru-RU" dirty="0"/>
              <a:t> мел.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промпта</a:t>
            </a:r>
            <a:r>
              <a:rPr lang="ru-RU" dirty="0"/>
              <a:t> </a:t>
            </a:r>
            <a:r>
              <a:rPr lang="ru-RU" dirty="0" err="1"/>
              <a:t>долорум</a:t>
            </a:r>
            <a:r>
              <a:rPr lang="ru-RU" dirty="0"/>
              <a:t> </a:t>
            </a:r>
            <a:r>
              <a:rPr lang="ru-RU" dirty="0" err="1"/>
              <a:t>дефинитионем</a:t>
            </a:r>
            <a:r>
              <a:rPr lang="ru-RU" dirty="0"/>
              <a:t>,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сплендиде</a:t>
            </a:r>
            <a:r>
              <a:rPr lang="ru-RU" dirty="0"/>
              <a:t> </a:t>
            </a:r>
            <a:r>
              <a:rPr lang="ru-RU" dirty="0" err="1"/>
              <a:t>цомпрехенсам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 дуо. </a:t>
            </a:r>
            <a:r>
              <a:rPr lang="ru-RU" dirty="0" err="1"/>
              <a:t>Новум</a:t>
            </a:r>
            <a:r>
              <a:rPr lang="ru-RU" dirty="0"/>
              <a:t> </a:t>
            </a:r>
            <a:r>
              <a:rPr lang="ru-RU" dirty="0" err="1"/>
              <a:t>диспутатиони</a:t>
            </a:r>
            <a:r>
              <a:rPr lang="ru-RU" dirty="0"/>
              <a:t> ан вел. Усу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, ин </a:t>
            </a:r>
            <a:r>
              <a:rPr lang="ru-RU" dirty="0" err="1"/>
              <a:t>яуи</a:t>
            </a:r>
            <a:r>
              <a:rPr lang="ru-RU" dirty="0"/>
              <a:t> модус </a:t>
            </a:r>
            <a:r>
              <a:rPr lang="ru-RU" dirty="0" err="1"/>
              <a:t>интегре</a:t>
            </a:r>
            <a:r>
              <a:rPr lang="ru-RU" dirty="0"/>
              <a:t>. </a:t>
            </a:r>
            <a:r>
              <a:rPr lang="ru-RU" dirty="0" err="1"/>
              <a:t>Саперет</a:t>
            </a:r>
            <a:r>
              <a:rPr lang="ru-RU" dirty="0"/>
              <a:t> </a:t>
            </a:r>
            <a:r>
              <a:rPr lang="ru-RU" dirty="0" err="1"/>
              <a:t>инвенире</a:t>
            </a:r>
            <a:r>
              <a:rPr lang="ru-RU" dirty="0"/>
              <a:t> </a:t>
            </a:r>
            <a:r>
              <a:rPr lang="ru-RU" dirty="0" err="1"/>
              <a:t>неглеген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вел, </a:t>
            </a:r>
            <a:r>
              <a:rPr lang="ru-RU" dirty="0" err="1"/>
              <a:t>ут</a:t>
            </a:r>
            <a:r>
              <a:rPr lang="ru-RU" dirty="0"/>
              <a:t> вис </a:t>
            </a:r>
            <a:r>
              <a:rPr lang="ru-RU" dirty="0" err="1"/>
              <a:t>аперири</a:t>
            </a:r>
            <a:r>
              <a:rPr lang="ru-RU" dirty="0"/>
              <a:t> </a:t>
            </a:r>
            <a:r>
              <a:rPr lang="ru-RU" dirty="0" err="1"/>
              <a:t>фабулас</a:t>
            </a:r>
            <a:r>
              <a:rPr lang="ru-RU" dirty="0"/>
              <a:t> </a:t>
            </a:r>
            <a:r>
              <a:rPr lang="ru-RU" dirty="0" err="1"/>
              <a:t>фабеллас</a:t>
            </a:r>
            <a:r>
              <a:rPr lang="ru-RU" dirty="0"/>
              <a:t>, не </a:t>
            </a:r>
            <a:r>
              <a:rPr lang="ru-RU" dirty="0" err="1"/>
              <a:t>пауло</a:t>
            </a:r>
            <a:r>
              <a:rPr lang="ru-RU" dirty="0"/>
              <a:t> </a:t>
            </a:r>
            <a:r>
              <a:rPr lang="ru-RU" dirty="0" err="1"/>
              <a:t>цаусае</a:t>
            </a:r>
            <a:r>
              <a:rPr lang="ru-RU" dirty="0"/>
              <a:t> вел. Ин </a:t>
            </a:r>
            <a:r>
              <a:rPr lang="ru-RU" dirty="0" err="1"/>
              <a:t>адхуц</a:t>
            </a:r>
            <a:r>
              <a:rPr lang="ru-RU" dirty="0"/>
              <a:t> </a:t>
            </a:r>
            <a:r>
              <a:rPr lang="ru-RU" dirty="0" err="1"/>
              <a:t>еррор</a:t>
            </a:r>
            <a:r>
              <a:rPr lang="ru-RU" dirty="0"/>
              <a:t> </a:t>
            </a:r>
            <a:r>
              <a:rPr lang="ru-RU" dirty="0" err="1"/>
              <a:t>волутпа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. </a:t>
            </a:r>
            <a:r>
              <a:rPr lang="en-US" dirty="0"/>
              <a:t/>
            </a:r>
            <a:br>
              <a:rPr lang="en-US" dirty="0"/>
            </a:br>
            <a:endParaRPr lang="ru-RU" dirty="0"/>
          </a:p>
          <a:p>
            <a:pPr lvl="0"/>
            <a:r>
              <a:rPr lang="ru-RU" dirty="0"/>
              <a:t>Ад </a:t>
            </a:r>
            <a:r>
              <a:rPr lang="ru-RU" dirty="0" err="1"/>
              <a:t>цум</a:t>
            </a:r>
            <a:r>
              <a:rPr lang="ru-RU" dirty="0"/>
              <a:t> </a:t>
            </a:r>
            <a:r>
              <a:rPr lang="ru-RU" dirty="0" err="1"/>
              <a:t>татион</a:t>
            </a:r>
            <a:r>
              <a:rPr lang="ru-RU" dirty="0"/>
              <a:t> </a:t>
            </a:r>
            <a:r>
              <a:rPr lang="ru-RU" dirty="0" err="1"/>
              <a:t>абхорреант</a:t>
            </a:r>
            <a:r>
              <a:rPr lang="ru-RU" dirty="0"/>
              <a:t>, </a:t>
            </a:r>
            <a:r>
              <a:rPr lang="ru-RU" dirty="0" err="1"/>
              <a:t>нец</a:t>
            </a:r>
            <a:r>
              <a:rPr lang="ru-RU" dirty="0"/>
              <a:t> не </a:t>
            </a:r>
            <a:r>
              <a:rPr lang="ru-RU" dirty="0" err="1"/>
              <a:t>пурто</a:t>
            </a:r>
            <a:r>
              <a:rPr lang="ru-RU" dirty="0"/>
              <a:t> </a:t>
            </a:r>
            <a:r>
              <a:rPr lang="ru-RU" dirty="0" err="1"/>
              <a:t>диссентиунт</a:t>
            </a:r>
            <a:r>
              <a:rPr lang="ru-RU" dirty="0"/>
              <a:t>. Ид </a:t>
            </a:r>
            <a:r>
              <a:rPr lang="ru-RU" dirty="0" err="1"/>
              <a:t>салутанди</a:t>
            </a:r>
            <a:r>
              <a:rPr lang="ru-RU" dirty="0"/>
              <a:t> </a:t>
            </a:r>
            <a:r>
              <a:rPr lang="ru-RU" dirty="0" err="1"/>
              <a:t>витуператорибус</a:t>
            </a:r>
            <a:r>
              <a:rPr lang="ru-RU" dirty="0"/>
              <a:t> ест. Но </a:t>
            </a:r>
            <a:r>
              <a:rPr lang="ru-RU" dirty="0" err="1"/>
              <a:t>яуи</a:t>
            </a:r>
            <a:r>
              <a:rPr lang="ru-RU" dirty="0"/>
              <a:t> </a:t>
            </a:r>
            <a:r>
              <a:rPr lang="ru-RU" dirty="0" err="1"/>
              <a:t>мутат</a:t>
            </a:r>
            <a:r>
              <a:rPr lang="ru-RU" dirty="0"/>
              <a:t> </a:t>
            </a:r>
            <a:r>
              <a:rPr lang="ru-RU" dirty="0" err="1"/>
              <a:t>елеифенд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. Но ест </a:t>
            </a:r>
            <a:r>
              <a:rPr lang="ru-RU" dirty="0" err="1"/>
              <a:t>облияуе</a:t>
            </a:r>
            <a:r>
              <a:rPr lang="ru-RU" dirty="0"/>
              <a:t> </a:t>
            </a:r>
            <a:r>
              <a:rPr lang="ru-RU" dirty="0" err="1"/>
              <a:t>луптатум</a:t>
            </a:r>
            <a:r>
              <a:rPr lang="ru-RU" dirty="0"/>
              <a:t> </a:t>
            </a:r>
            <a:r>
              <a:rPr lang="ru-RU" dirty="0" err="1"/>
              <a:t>цомплецтитур</a:t>
            </a:r>
            <a:r>
              <a:rPr lang="ru-RU" dirty="0"/>
              <a:t>. Вис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сусципит</a:t>
            </a:r>
            <a:r>
              <a:rPr lang="ru-RU" dirty="0"/>
              <a:t> </a:t>
            </a:r>
            <a:r>
              <a:rPr lang="ru-RU" dirty="0" err="1"/>
              <a:t>салутату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</a:t>
            </a:r>
            <a:r>
              <a:rPr lang="ru-RU" dirty="0" err="1"/>
              <a:t>яуаестио</a:t>
            </a:r>
            <a:r>
              <a:rPr lang="ru-RU" dirty="0"/>
              <a:t> </a:t>
            </a:r>
            <a:r>
              <a:rPr lang="ru-RU" dirty="0" err="1"/>
              <a:t>импердие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, но </a:t>
            </a:r>
            <a:r>
              <a:rPr lang="ru-RU" dirty="0" err="1"/>
              <a:t>солум</a:t>
            </a:r>
            <a:r>
              <a:rPr lang="ru-RU" dirty="0"/>
              <a:t> </a:t>
            </a:r>
            <a:r>
              <a:rPr lang="ru-RU" dirty="0" err="1"/>
              <a:t>денияуе</a:t>
            </a:r>
            <a:r>
              <a:rPr lang="ru-RU" dirty="0"/>
              <a:t> </a:t>
            </a:r>
            <a:r>
              <a:rPr lang="ru-RU" dirty="0" err="1"/>
              <a:t>иус</a:t>
            </a:r>
            <a:r>
              <a:rPr lang="ru-RU" dirty="0"/>
              <a:t>.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алиа</a:t>
            </a:r>
            <a:r>
              <a:rPr lang="ru-RU" dirty="0"/>
              <a:t> </a:t>
            </a:r>
            <a:r>
              <a:rPr lang="ru-RU" dirty="0" err="1"/>
              <a:t>яуидам</a:t>
            </a:r>
            <a:r>
              <a:rPr lang="ru-RU" dirty="0"/>
              <a:t> </a:t>
            </a:r>
            <a:r>
              <a:rPr lang="ru-RU" dirty="0" err="1"/>
              <a:t>дефинитионес</a:t>
            </a:r>
            <a:r>
              <a:rPr lang="ru-RU" dirty="0"/>
              <a:t>, </a:t>
            </a:r>
            <a:r>
              <a:rPr lang="ru-RU" dirty="0" err="1"/>
              <a:t>цу</a:t>
            </a:r>
            <a:r>
              <a:rPr lang="ru-RU" dirty="0"/>
              <a:t> вис </a:t>
            </a:r>
            <a:r>
              <a:rPr lang="ru-RU" dirty="0" err="1"/>
              <a:t>аугуе</a:t>
            </a:r>
            <a:r>
              <a:rPr lang="ru-RU" dirty="0"/>
              <a:t> </a:t>
            </a:r>
            <a:r>
              <a:rPr lang="ru-RU" dirty="0" err="1"/>
              <a:t>малорум</a:t>
            </a:r>
            <a:r>
              <a:rPr lang="ru-RU" dirty="0"/>
              <a:t> </a:t>
            </a:r>
            <a:r>
              <a:rPr lang="ru-RU" dirty="0" err="1"/>
              <a:t>цивибус</a:t>
            </a:r>
            <a:r>
              <a:rPr lang="ru-RU" dirty="0"/>
              <a:t>. Не </a:t>
            </a:r>
            <a:r>
              <a:rPr lang="ru-RU" dirty="0" err="1"/>
              <a:t>иус</a:t>
            </a:r>
            <a:r>
              <a:rPr lang="ru-RU" dirty="0"/>
              <a:t> </a:t>
            </a:r>
            <a:r>
              <a:rPr lang="ru-RU" dirty="0" err="1"/>
              <a:t>деленит</a:t>
            </a:r>
            <a:r>
              <a:rPr lang="ru-RU" dirty="0"/>
              <a:t> </a:t>
            </a:r>
            <a:r>
              <a:rPr lang="ru-RU" dirty="0" err="1"/>
              <a:t>урбанитас</a:t>
            </a:r>
            <a:r>
              <a:rPr lang="ru-RU" dirty="0"/>
              <a:t>, </a:t>
            </a:r>
            <a:r>
              <a:rPr lang="ru-RU" dirty="0" err="1"/>
              <a:t>ех</a:t>
            </a:r>
            <a:r>
              <a:rPr lang="ru-RU" dirty="0"/>
              <a:t> вел </a:t>
            </a:r>
            <a:r>
              <a:rPr lang="ru-RU" dirty="0" err="1"/>
              <a:t>иусто</a:t>
            </a:r>
            <a:r>
              <a:rPr lang="ru-RU" dirty="0"/>
              <a:t> </a:t>
            </a:r>
            <a:r>
              <a:rPr lang="ru-RU" dirty="0" err="1"/>
              <a:t>бонорум</a:t>
            </a:r>
            <a:r>
              <a:rPr lang="ru-RU" dirty="0"/>
              <a:t> </a:t>
            </a:r>
            <a:r>
              <a:rPr lang="ru-RU" dirty="0" err="1"/>
              <a:t>дебитис</a:t>
            </a:r>
            <a:r>
              <a:rPr lang="ru-RU" dirty="0"/>
              <a:t>, вел </a:t>
            </a:r>
            <a:r>
              <a:rPr lang="ru-RU" dirty="0" err="1"/>
              <a:t>цу</a:t>
            </a:r>
            <a:r>
              <a:rPr lang="ru-RU" dirty="0"/>
              <a:t> тале </a:t>
            </a:r>
            <a:r>
              <a:rPr lang="ru-RU" dirty="0" err="1"/>
              <a:t>либерависсе</a:t>
            </a:r>
            <a:r>
              <a:rPr lang="ru-RU" dirty="0"/>
              <a:t>.</a:t>
            </a:r>
          </a:p>
          <a:p>
            <a:pPr lvl="0"/>
            <a:r>
              <a:rPr lang="ru-RU" dirty="0" err="1"/>
              <a:t>Выаааааааааааааааааааааааааааааааа</a:t>
            </a:r>
            <a:r>
              <a:rPr lang="ru-RU" dirty="0"/>
              <a:t>  </a:t>
            </a:r>
            <a:r>
              <a:rPr lang="ru-RU" dirty="0" err="1"/>
              <a:t>авывывывывывывывывывывывывывывывывывывывывывывывывывывы</a:t>
            </a:r>
            <a:r>
              <a:rPr lang="ru-RU" dirty="0"/>
              <a:t>  </a:t>
            </a:r>
            <a:r>
              <a:rPr lang="ru-RU" dirty="0" err="1"/>
              <a:t>вапвапвапвапвапырырарыар</a:t>
            </a:r>
            <a:endParaRPr lang="ru-RU" dirty="0"/>
          </a:p>
          <a:p>
            <a:pPr lvl="0"/>
            <a:r>
              <a:rPr lang="ru-RU" dirty="0" err="1"/>
              <a:t>Ывпапппппппппроррррр</a:t>
            </a:r>
            <a:r>
              <a:rPr lang="ru-RU" dirty="0"/>
              <a:t> </a:t>
            </a:r>
            <a:r>
              <a:rPr lang="ru-RU" dirty="0" err="1"/>
              <a:t>вапрвопопл</a:t>
            </a:r>
            <a:r>
              <a:rPr lang="ru-RU" dirty="0"/>
              <a:t>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242759" y="1587559"/>
            <a:ext cx="4933952" cy="470656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sp>
        <p:nvSpPr>
          <p:cNvPr id="15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296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5" y="1587555"/>
            <a:ext cx="4034588" cy="35090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40">
                <a:solidFill>
                  <a:srgbClr val="001D4D"/>
                </a:solidFill>
              </a:defRPr>
            </a:lvl1pPr>
            <a:lvl2pPr marL="548626" indent="0">
              <a:buNone/>
              <a:defRPr sz="1680"/>
            </a:lvl2pPr>
            <a:lvl3pPr marL="1097253" indent="0">
              <a:buNone/>
              <a:defRPr sz="1920"/>
            </a:lvl3pPr>
            <a:lvl4pPr marL="1645879" indent="0">
              <a:buNone/>
              <a:defRPr sz="1920"/>
            </a:lvl4pPr>
            <a:lvl5pPr marL="2194505" indent="0">
              <a:buNone/>
              <a:defRPr sz="1920"/>
            </a:lvl5pPr>
          </a:lstStyle>
          <a:p>
            <a:pPr lvl="0"/>
            <a:r>
              <a:rPr lang="ru-RU" dirty="0" err="1"/>
              <a:t>Лорем</a:t>
            </a:r>
            <a:r>
              <a:rPr lang="ru-RU" dirty="0"/>
              <a:t> </a:t>
            </a:r>
            <a:r>
              <a:rPr lang="ru-RU" dirty="0" err="1"/>
              <a:t>ипсум</a:t>
            </a:r>
            <a:r>
              <a:rPr lang="ru-RU" dirty="0"/>
              <a:t> </a:t>
            </a:r>
            <a:r>
              <a:rPr lang="ru-RU" dirty="0" err="1"/>
              <a:t>долор</a:t>
            </a:r>
            <a:r>
              <a:rPr lang="ru-RU" dirty="0"/>
              <a:t> сит </a:t>
            </a:r>
            <a:r>
              <a:rPr lang="ru-RU" dirty="0" err="1"/>
              <a:t>амет</a:t>
            </a:r>
            <a:r>
              <a:rPr lang="ru-RU" dirty="0"/>
              <a:t>, </a:t>
            </a:r>
            <a:r>
              <a:rPr lang="ru-RU" dirty="0" err="1"/>
              <a:t>вих</a:t>
            </a:r>
            <a:r>
              <a:rPr lang="ru-RU" dirty="0"/>
              <a:t> </a:t>
            </a:r>
            <a:r>
              <a:rPr lang="ru-RU" dirty="0" err="1"/>
              <a:t>ут</a:t>
            </a:r>
            <a:r>
              <a:rPr lang="ru-RU" dirty="0"/>
              <a:t> </a:t>
            </a:r>
            <a:r>
              <a:rPr lang="ru-RU" dirty="0" err="1"/>
              <a:t>малис</a:t>
            </a:r>
            <a:r>
              <a:rPr lang="ru-RU" dirty="0"/>
              <a:t> </a:t>
            </a:r>
            <a:r>
              <a:rPr lang="ru-RU" dirty="0" err="1"/>
              <a:t>инцоррупте</a:t>
            </a:r>
            <a:r>
              <a:rPr lang="ru-RU" dirty="0"/>
              <a:t>,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делицата</a:t>
            </a:r>
            <a:r>
              <a:rPr lang="ru-RU" dirty="0"/>
              <a:t> </a:t>
            </a:r>
            <a:r>
              <a:rPr lang="ru-RU" dirty="0" err="1"/>
              <a:t>тинцидунт</a:t>
            </a:r>
            <a:r>
              <a:rPr lang="ru-RU" dirty="0"/>
              <a:t> мел. </a:t>
            </a:r>
            <a:r>
              <a:rPr lang="ru-RU" dirty="0" err="1"/>
              <a:t>Сеа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</a:t>
            </a:r>
            <a:r>
              <a:rPr lang="ru-RU" dirty="0" err="1"/>
              <a:t>промпта</a:t>
            </a:r>
            <a:r>
              <a:rPr lang="ru-RU" dirty="0"/>
              <a:t> </a:t>
            </a:r>
            <a:r>
              <a:rPr lang="ru-RU" dirty="0" err="1"/>
              <a:t>долорум</a:t>
            </a:r>
            <a:r>
              <a:rPr lang="ru-RU" dirty="0"/>
              <a:t> </a:t>
            </a:r>
            <a:r>
              <a:rPr lang="ru-RU" dirty="0" err="1"/>
              <a:t>дефинитионем</a:t>
            </a:r>
            <a:r>
              <a:rPr lang="ru-RU" dirty="0"/>
              <a:t>, </a:t>
            </a:r>
            <a:r>
              <a:rPr lang="ru-RU" dirty="0" err="1"/>
              <a:t>поссим</a:t>
            </a:r>
            <a:r>
              <a:rPr lang="ru-RU" dirty="0"/>
              <a:t> </a:t>
            </a:r>
            <a:r>
              <a:rPr lang="ru-RU" dirty="0" err="1"/>
              <a:t>сплендиде</a:t>
            </a:r>
            <a:r>
              <a:rPr lang="ru-RU" dirty="0"/>
              <a:t> </a:t>
            </a:r>
            <a:r>
              <a:rPr lang="ru-RU" dirty="0" err="1"/>
              <a:t>цомпрехенсам</a:t>
            </a:r>
            <a:r>
              <a:rPr lang="ru-RU" dirty="0"/>
              <a:t> </a:t>
            </a:r>
            <a:r>
              <a:rPr lang="ru-RU" dirty="0" err="1"/>
              <a:t>еа</a:t>
            </a:r>
            <a:r>
              <a:rPr lang="ru-RU" dirty="0"/>
              <a:t> дуо. </a:t>
            </a:r>
            <a:r>
              <a:rPr lang="ru-RU" dirty="0" err="1"/>
              <a:t>Новум</a:t>
            </a:r>
            <a:r>
              <a:rPr lang="ru-RU" dirty="0"/>
              <a:t> </a:t>
            </a:r>
            <a:r>
              <a:rPr lang="ru-RU" dirty="0" err="1"/>
              <a:t>диспутатиони</a:t>
            </a:r>
            <a:r>
              <a:rPr lang="ru-RU" dirty="0"/>
              <a:t> ан вел. Усу </a:t>
            </a:r>
            <a:r>
              <a:rPr lang="ru-RU" dirty="0" err="1"/>
              <a:t>ат</a:t>
            </a:r>
            <a:r>
              <a:rPr lang="ru-RU" dirty="0"/>
              <a:t> </a:t>
            </a:r>
            <a:r>
              <a:rPr lang="ru-RU" dirty="0" err="1"/>
              <a:t>лобортис</a:t>
            </a:r>
            <a:r>
              <a:rPr lang="ru-RU" dirty="0"/>
              <a:t> </a:t>
            </a:r>
            <a:r>
              <a:rPr lang="ru-RU" dirty="0" err="1"/>
              <a:t>салутанди</a:t>
            </a:r>
            <a:r>
              <a:rPr lang="ru-RU" dirty="0"/>
              <a:t>, ин </a:t>
            </a:r>
            <a:r>
              <a:rPr lang="ru-RU" dirty="0" err="1"/>
              <a:t>яуи</a:t>
            </a:r>
            <a:r>
              <a:rPr lang="ru-RU" dirty="0"/>
              <a:t> модус </a:t>
            </a:r>
            <a:r>
              <a:rPr lang="ru-RU" dirty="0" err="1"/>
              <a:t>интегре</a:t>
            </a:r>
            <a:r>
              <a:rPr lang="ru-RU" dirty="0"/>
              <a:t>. </a:t>
            </a:r>
            <a:r>
              <a:rPr lang="ru-RU" dirty="0" err="1"/>
              <a:t>Саперет</a:t>
            </a:r>
            <a:r>
              <a:rPr lang="ru-RU" dirty="0"/>
              <a:t> </a:t>
            </a:r>
            <a:r>
              <a:rPr lang="ru-RU" dirty="0" err="1"/>
              <a:t>инвенире</a:t>
            </a:r>
            <a:r>
              <a:rPr lang="ru-RU" dirty="0"/>
              <a:t> </a:t>
            </a:r>
            <a:r>
              <a:rPr lang="ru-RU" dirty="0" err="1"/>
              <a:t>неглегентур</a:t>
            </a:r>
            <a:r>
              <a:rPr lang="ru-RU" dirty="0"/>
              <a:t> </a:t>
            </a:r>
            <a:r>
              <a:rPr lang="ru-RU" dirty="0" err="1"/>
              <a:t>еу</a:t>
            </a:r>
            <a:r>
              <a:rPr lang="ru-RU" dirty="0"/>
              <a:t> вел, </a:t>
            </a:r>
            <a:r>
              <a:rPr lang="ru-RU" dirty="0" err="1"/>
              <a:t>ут</a:t>
            </a:r>
            <a:r>
              <a:rPr lang="ru-RU" dirty="0"/>
              <a:t> вис </a:t>
            </a:r>
            <a:r>
              <a:rPr lang="ru-RU" dirty="0" err="1"/>
              <a:t>аперири</a:t>
            </a:r>
            <a:r>
              <a:rPr lang="ru-RU" dirty="0"/>
              <a:t> </a:t>
            </a:r>
            <a:r>
              <a:rPr lang="ru-RU" dirty="0" err="1"/>
              <a:t>фабулас</a:t>
            </a:r>
            <a:r>
              <a:rPr lang="ru-RU" dirty="0"/>
              <a:t> </a:t>
            </a:r>
            <a:r>
              <a:rPr lang="ru-RU" dirty="0" err="1"/>
              <a:t>фабеллас</a:t>
            </a:r>
            <a:r>
              <a:rPr lang="ru-RU" dirty="0"/>
              <a:t>, не </a:t>
            </a:r>
            <a:r>
              <a:rPr lang="ru-RU" dirty="0" err="1"/>
              <a:t>пауло</a:t>
            </a:r>
            <a:r>
              <a:rPr lang="ru-RU" dirty="0"/>
              <a:t> </a:t>
            </a:r>
            <a:r>
              <a:rPr lang="ru-RU" dirty="0" err="1"/>
              <a:t>цаусае</a:t>
            </a:r>
            <a:r>
              <a:rPr lang="ru-RU" dirty="0"/>
              <a:t> вел. Ин </a:t>
            </a:r>
            <a:r>
              <a:rPr lang="ru-RU" dirty="0" err="1"/>
              <a:t>адхуц</a:t>
            </a:r>
            <a:r>
              <a:rPr lang="ru-RU" dirty="0"/>
              <a:t> </a:t>
            </a:r>
            <a:r>
              <a:rPr lang="ru-RU" dirty="0" err="1"/>
              <a:t>еррор</a:t>
            </a:r>
            <a:r>
              <a:rPr lang="ru-RU" dirty="0"/>
              <a:t> </a:t>
            </a:r>
            <a:r>
              <a:rPr lang="ru-RU" dirty="0" err="1"/>
              <a:t>волутпат</a:t>
            </a:r>
            <a:r>
              <a:rPr lang="ru-RU" dirty="0"/>
              <a:t> </a:t>
            </a:r>
            <a:r>
              <a:rPr lang="ru-RU" dirty="0" err="1"/>
              <a:t>меа</a:t>
            </a:r>
            <a:r>
              <a:rPr lang="ru-RU" dirty="0"/>
              <a:t>. </a:t>
            </a:r>
            <a:r>
              <a:rPr lang="en-US" dirty="0"/>
              <a:t/>
            </a:r>
            <a:br>
              <a:rPr lang="en-US" dirty="0"/>
            </a:br>
            <a:endParaRPr lang="ru-RU" dirty="0"/>
          </a:p>
          <a:p>
            <a:pPr lvl="0"/>
            <a:r>
              <a:rPr lang="ru-RU" dirty="0"/>
              <a:t>Ад </a:t>
            </a:r>
            <a:r>
              <a:rPr lang="ru-RU" dirty="0" err="1"/>
              <a:t>цум</a:t>
            </a:r>
            <a:r>
              <a:rPr lang="ru-RU" dirty="0"/>
              <a:t> </a:t>
            </a:r>
            <a:r>
              <a:rPr lang="ru-RU" dirty="0" err="1"/>
              <a:t>татион</a:t>
            </a:r>
            <a:r>
              <a:rPr lang="ru-RU" dirty="0"/>
              <a:t> </a:t>
            </a:r>
            <a:r>
              <a:rPr lang="ru-RU" dirty="0" err="1"/>
              <a:t>абхорреант</a:t>
            </a:r>
            <a:r>
              <a:rPr lang="ru-RU" dirty="0"/>
              <a:t>, </a:t>
            </a:r>
            <a:r>
              <a:rPr lang="ru-RU" dirty="0" err="1"/>
              <a:t>нец</a:t>
            </a:r>
            <a:r>
              <a:rPr lang="ru-RU" dirty="0"/>
              <a:t> не </a:t>
            </a:r>
            <a:r>
              <a:rPr lang="ru-RU" dirty="0" err="1"/>
              <a:t>пурто</a:t>
            </a:r>
            <a:r>
              <a:rPr lang="ru-RU" dirty="0"/>
              <a:t> </a:t>
            </a:r>
            <a:r>
              <a:rPr lang="ru-RU" dirty="0" err="1"/>
              <a:t>диссентиунт</a:t>
            </a:r>
            <a:r>
              <a:rPr lang="ru-RU" dirty="0"/>
              <a:t>. Ид </a:t>
            </a:r>
            <a:r>
              <a:rPr lang="ru-RU" dirty="0" err="1"/>
              <a:t>салутанди</a:t>
            </a:r>
            <a:r>
              <a:rPr lang="ru-RU" dirty="0"/>
              <a:t> </a:t>
            </a:r>
            <a:r>
              <a:rPr lang="ru-RU" dirty="0" err="1"/>
              <a:t>витуператорибус</a:t>
            </a:r>
            <a:r>
              <a:rPr lang="ru-RU" dirty="0"/>
              <a:t> ест. Но </a:t>
            </a:r>
            <a:r>
              <a:rPr lang="ru-RU" dirty="0" err="1"/>
              <a:t>яуи</a:t>
            </a:r>
            <a:r>
              <a:rPr lang="ru-RU" dirty="0"/>
              <a:t> </a:t>
            </a:r>
            <a:r>
              <a:rPr lang="ru-RU" dirty="0" err="1"/>
              <a:t>мутат</a:t>
            </a:r>
            <a:endParaRPr lang="ru-RU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65035" y="1587559"/>
            <a:ext cx="5951620" cy="350902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sp>
        <p:nvSpPr>
          <p:cNvPr id="15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620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7744177" y="1483365"/>
            <a:ext cx="3432531" cy="45821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09600" y="1483365"/>
            <a:ext cx="3432531" cy="45821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4177835" y="1483365"/>
            <a:ext cx="3432531" cy="45821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US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1" y="6106163"/>
            <a:ext cx="3432531" cy="188431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marR="0" indent="0" algn="l" defTabSz="54862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80" b="0" baseline="0">
                <a:solidFill>
                  <a:srgbClr val="00C8B3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Описание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177835" y="6106163"/>
            <a:ext cx="3432531" cy="188431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marR="0" indent="0" algn="l" defTabSz="54862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80" b="0" baseline="0">
                <a:solidFill>
                  <a:srgbClr val="00C8B3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Описание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744179" y="6106163"/>
            <a:ext cx="3432531" cy="188431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marR="0" indent="0" algn="l" defTabSz="54862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80" b="0" baseline="0">
                <a:solidFill>
                  <a:srgbClr val="00C8B3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Описание</a:t>
            </a:r>
            <a:endParaRPr lang="en-US" dirty="0"/>
          </a:p>
        </p:txBody>
      </p:sp>
      <p:pic>
        <p:nvPicPr>
          <p:cNvPr id="21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2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sp>
        <p:nvSpPr>
          <p:cNvPr id="24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7232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">
    <p:bg>
      <p:bgPr>
        <a:solidFill>
          <a:srgbClr val="001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219204" y="1066801"/>
            <a:ext cx="5633153" cy="9855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640" b="1" baseline="0">
                <a:solidFill>
                  <a:schemeClr val="bg1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ru-RU" dirty="0"/>
              <a:t>Благодарим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 внимание</a:t>
            </a:r>
            <a:endParaRPr lang="en-US" dirty="0"/>
          </a:p>
        </p:txBody>
      </p:sp>
      <p:sp>
        <p:nvSpPr>
          <p:cNvPr id="7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4854225" y="1066797"/>
            <a:ext cx="6006395" cy="522732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/>
              <a:t>Pattern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0" y="5379720"/>
            <a:ext cx="5181600" cy="9144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1260">
                <a:solidFill>
                  <a:schemeClr val="bg1"/>
                </a:solidFill>
              </a:defRPr>
            </a:lvl1pPr>
            <a:lvl2pPr marL="548626" indent="0">
              <a:buNone/>
              <a:defRPr sz="1680"/>
            </a:lvl2pPr>
            <a:lvl3pPr marL="1097253" indent="0">
              <a:buNone/>
              <a:defRPr sz="1920"/>
            </a:lvl3pPr>
            <a:lvl4pPr marL="1645879" indent="0">
              <a:buNone/>
              <a:defRPr sz="1920"/>
            </a:lvl4pPr>
            <a:lvl5pPr marL="2194505" indent="0">
              <a:buNone/>
              <a:defRPr sz="1920"/>
            </a:lvl5pPr>
          </a:lstStyle>
          <a:p>
            <a:pPr lvl="0"/>
            <a:r>
              <a:rPr lang="en-US" dirty="0"/>
              <a:t>a: 10, 8 Marta street, Bld. 1, </a:t>
            </a:r>
            <a:br>
              <a:rPr lang="en-US" dirty="0"/>
            </a:br>
            <a:r>
              <a:rPr lang="en-US" dirty="0"/>
              <a:t>Moscow, Russia, 127083 </a:t>
            </a:r>
            <a:br>
              <a:rPr lang="en-US" dirty="0"/>
            </a:br>
            <a:r>
              <a:rPr lang="en-US" dirty="0"/>
              <a:t>t: +7 (495) 788-00-07</a:t>
            </a:r>
            <a:br>
              <a:rPr lang="en-US" dirty="0"/>
            </a:br>
            <a:r>
              <a:rPr lang="en-US" dirty="0"/>
              <a:t>f: +7 (495) 614-22-62</a:t>
            </a:r>
            <a:endParaRPr lang="ru-RU" dirty="0"/>
          </a:p>
        </p:txBody>
      </p:sp>
      <p:sp>
        <p:nvSpPr>
          <p:cNvPr id="9" name="Date Placeholder 15"/>
          <p:cNvSpPr txBox="1">
            <a:spLocks/>
          </p:cNvSpPr>
          <p:nvPr userDrawn="1"/>
        </p:nvSpPr>
        <p:spPr>
          <a:xfrm rot="16200000">
            <a:off x="10009079" y="4816833"/>
            <a:ext cx="2560320" cy="405695"/>
          </a:xfrm>
          <a:prstGeom prst="rect">
            <a:avLst/>
          </a:prstGeom>
        </p:spPr>
        <p:txBody>
          <a:bodyPr vert="horz" lIns="0" tIns="54864" rIns="109728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2"/>
                </a:solidFill>
                <a:latin typeface="Arial" panose="020B0604020202020204" pitchFamily="34" charset="0"/>
              </a:rPr>
              <a:t>www.aorti.ru</a:t>
            </a:r>
          </a:p>
        </p:txBody>
      </p:sp>
    </p:spTree>
    <p:extLst>
      <p:ext uri="{BB962C8B-B14F-4D97-AF65-F5344CB8AC3E}">
        <p14:creationId xmlns:p14="http://schemas.microsoft.com/office/powerpoint/2010/main" val="3866804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3540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22792"/>
            <a:ext cx="2743200" cy="871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629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1 C.pptx</a:t>
            </a:r>
            <a:endParaRPr lang="ru-RU" sz="629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601315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7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7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4735" y="457199"/>
            <a:ext cx="1767669" cy="34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26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solidFill>
          <a:srgbClr val="001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4" y="3372494"/>
            <a:ext cx="5633153" cy="13214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880" b="1" baseline="0">
                <a:solidFill>
                  <a:srgbClr val="FFFFFF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ru-RU" dirty="0"/>
              <a:t>Вариант для демонстрации на экране (печать не рекомендуется)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653722" y="791217"/>
            <a:ext cx="2823633" cy="25412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Pattern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3"/>
          </p:nvPr>
        </p:nvSpPr>
        <p:spPr>
          <a:xfrm rot="16200000">
            <a:off x="-422555" y="4826358"/>
            <a:ext cx="2560320" cy="405695"/>
          </a:xfrm>
          <a:prstGeom prst="rect">
            <a:avLst/>
          </a:prstGeom>
        </p:spPr>
        <p:txBody>
          <a:bodyPr lIns="0" tIns="0" rIns="0" anchor="t"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fld id="{76F45DFD-3948-FD4D-9425-10D650456072}" type="datetime3">
              <a:rPr lang="en-US" smtClean="0"/>
              <a:pPr/>
              <a:t>25 June 2019</a:t>
            </a:fld>
            <a:endParaRPr lang="en-US"/>
          </a:p>
        </p:txBody>
      </p:sp>
      <p:sp>
        <p:nvSpPr>
          <p:cNvPr id="20" name="Date Placeholder 15"/>
          <p:cNvSpPr txBox="1">
            <a:spLocks/>
          </p:cNvSpPr>
          <p:nvPr userDrawn="1"/>
        </p:nvSpPr>
        <p:spPr>
          <a:xfrm rot="16200000">
            <a:off x="10009079" y="4816833"/>
            <a:ext cx="2560320" cy="405695"/>
          </a:xfrm>
          <a:prstGeom prst="rect">
            <a:avLst/>
          </a:prstGeom>
        </p:spPr>
        <p:txBody>
          <a:bodyPr vert="horz" lIns="0" tIns="54864" rIns="109728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2"/>
                </a:solidFill>
                <a:latin typeface="Arial" panose="020B0604020202020204" pitchFamily="34" charset="0"/>
              </a:rPr>
              <a:t>www.aorti.ru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535639" y="1592582"/>
            <a:ext cx="9753600" cy="4707255"/>
          </a:xfrm>
          <a:custGeom>
            <a:avLst/>
            <a:gdLst/>
            <a:ahLst/>
            <a:cxnLst/>
            <a:rect l="l" t="t" r="r" b="b"/>
            <a:pathLst>
              <a:path w="7315200" h="3922712">
                <a:moveTo>
                  <a:pt x="0" y="0"/>
                </a:moveTo>
                <a:lnTo>
                  <a:pt x="7315200" y="0"/>
                </a:lnTo>
                <a:lnTo>
                  <a:pt x="7315200" y="1060978"/>
                </a:lnTo>
                <a:lnTo>
                  <a:pt x="3200400" y="1060978"/>
                </a:lnTo>
                <a:lnTo>
                  <a:pt x="3200400" y="2889778"/>
                </a:lnTo>
                <a:lnTo>
                  <a:pt x="7315200" y="2889778"/>
                </a:lnTo>
                <a:lnTo>
                  <a:pt x="7315200" y="3922712"/>
                </a:lnTo>
                <a:lnTo>
                  <a:pt x="0" y="3922712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77652" y="457199"/>
            <a:ext cx="2651504" cy="5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878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Рисунок 4"/>
          <p:cNvSpPr>
            <a:spLocks noGrp="1"/>
          </p:cNvSpPr>
          <p:nvPr>
            <p:ph type="pic" sz="quarter" idx="15"/>
          </p:nvPr>
        </p:nvSpPr>
        <p:spPr>
          <a:xfrm>
            <a:off x="607167" y="751520"/>
            <a:ext cx="11027096" cy="571665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1" name="Date Placeholder 15"/>
          <p:cNvSpPr>
            <a:spLocks noGrp="1"/>
          </p:cNvSpPr>
          <p:nvPr>
            <p:ph type="dt" sz="half" idx="13"/>
          </p:nvPr>
        </p:nvSpPr>
        <p:spPr>
          <a:xfrm rot="16200000">
            <a:off x="-896344" y="2669898"/>
            <a:ext cx="2560320" cy="405695"/>
          </a:xfrm>
          <a:prstGeom prst="rect">
            <a:avLst/>
          </a:prstGeom>
        </p:spPr>
        <p:txBody>
          <a:bodyPr lIns="0" tIns="0" rIns="0" anchor="t"/>
          <a:lstStyle>
            <a:lvl1pPr>
              <a:defRPr sz="1200">
                <a:solidFill>
                  <a:srgbClr val="00C8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FD82131-30A0-534F-B816-32715689D9A4}" type="datetime3">
              <a:rPr lang="en-US" smtClean="0"/>
              <a:pPr/>
              <a:t>25 June 2019</a:t>
            </a:fld>
            <a:endParaRPr lang="en-US"/>
          </a:p>
        </p:txBody>
      </p:sp>
      <p:sp>
        <p:nvSpPr>
          <p:cNvPr id="15" name="Date Placeholder 15"/>
          <p:cNvSpPr txBox="1">
            <a:spLocks/>
          </p:cNvSpPr>
          <p:nvPr userDrawn="1"/>
        </p:nvSpPr>
        <p:spPr>
          <a:xfrm rot="16200000">
            <a:off x="10536447" y="4816830"/>
            <a:ext cx="2560320" cy="405695"/>
          </a:xfrm>
          <a:prstGeom prst="rect">
            <a:avLst/>
          </a:prstGeom>
        </p:spPr>
        <p:txBody>
          <a:bodyPr vert="horz" lIns="0" tIns="54864" rIns="109728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5"/>
                </a:solidFill>
                <a:latin typeface="Arial" panose="020B0604020202020204" pitchFamily="34" charset="0"/>
              </a:rPr>
              <a:t>www.aorti.ru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2070805" y="331474"/>
            <a:ext cx="2823633" cy="25412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Pattern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quarter" idx="16"/>
          </p:nvPr>
        </p:nvSpPr>
        <p:spPr>
          <a:xfrm>
            <a:off x="586317" y="4691818"/>
            <a:ext cx="5509683" cy="1775657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0" tIns="0" rIns="0" bIns="0" anchor="b"/>
          <a:lstStyle>
            <a:lvl1pPr marL="0" indent="0">
              <a:buNone/>
              <a:defRPr lang="ru-RU" sz="2880" b="1" kern="1200" baseline="0" dirty="0" smtClean="0">
                <a:solidFill>
                  <a:srgbClr val="001D4D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marL="0" lvl="0" indent="0" algn="l" defTabSz="548626" rtl="0" eaLnBrk="1" latinLnBrk="0" hangingPunct="1">
              <a:spcBef>
                <a:spcPts val="480"/>
              </a:spcBef>
              <a:buFont typeface="Arial"/>
              <a:buNone/>
            </a:pPr>
            <a:endParaRPr lang="ru-RU" dirty="0"/>
          </a:p>
          <a:p>
            <a:pPr marL="0" lvl="0" indent="0" algn="l" defTabSz="548626" rtl="0" eaLnBrk="1" latinLnBrk="0" hangingPunct="1">
              <a:spcBef>
                <a:spcPts val="480"/>
              </a:spcBef>
              <a:buFont typeface="Arial"/>
              <a:buNone/>
            </a:pPr>
            <a:endParaRPr lang="ru-RU" dirty="0"/>
          </a:p>
          <a:p>
            <a:pPr lvl="0"/>
            <a:r>
              <a:rPr lang="ru-RU" dirty="0"/>
              <a:t>Презентация 28 кегль, лого справа </a:t>
            </a:r>
          </a:p>
        </p:txBody>
      </p:sp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3" y="457199"/>
            <a:ext cx="2651504" cy="518400"/>
          </a:xfrm>
          <a:prstGeom prst="rect">
            <a:avLst/>
          </a:prstGeom>
        </p:spPr>
      </p:pic>
      <p:sp>
        <p:nvSpPr>
          <p:cNvPr id="4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5560242" y="2434530"/>
            <a:ext cx="2823633" cy="25412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Pattern</a:t>
            </a:r>
          </a:p>
        </p:txBody>
      </p:sp>
      <p:sp>
        <p:nvSpPr>
          <p:cNvPr id="5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8383873" y="457203"/>
            <a:ext cx="2823633" cy="25412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Pattern</a:t>
            </a:r>
          </a:p>
        </p:txBody>
      </p:sp>
      <p:sp>
        <p:nvSpPr>
          <p:cNvPr id="6" name="Текст 24"/>
          <p:cNvSpPr>
            <a:spLocks noGrp="1"/>
          </p:cNvSpPr>
          <p:nvPr>
            <p:ph type="body" sz="quarter" idx="16"/>
          </p:nvPr>
        </p:nvSpPr>
        <p:spPr>
          <a:xfrm>
            <a:off x="586317" y="4691818"/>
            <a:ext cx="5509683" cy="1775657"/>
          </a:xfrm>
          <a:prstGeom prst="rect">
            <a:avLst/>
          </a:prstGeom>
          <a:solidFill>
            <a:schemeClr val="bg1"/>
          </a:solidFill>
          <a:effectLst/>
        </p:spPr>
        <p:txBody>
          <a:bodyPr lIns="0" tIns="0" rIns="0" bIns="0" anchor="b"/>
          <a:lstStyle>
            <a:lvl1pPr marL="0" indent="0">
              <a:buNone/>
              <a:defRPr lang="ru-RU" sz="2880" b="1" kern="1200" baseline="0" dirty="0" smtClean="0">
                <a:solidFill>
                  <a:srgbClr val="001D4D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 marL="0" lvl="0" indent="0" algn="l" defTabSz="548626" rtl="0" eaLnBrk="1" latinLnBrk="0" hangingPunct="1">
              <a:spcBef>
                <a:spcPts val="480"/>
              </a:spcBef>
              <a:buFont typeface="Arial"/>
              <a:buNone/>
            </a:pPr>
            <a:endParaRPr lang="ru-RU" dirty="0"/>
          </a:p>
          <a:p>
            <a:pPr marL="0" lvl="0" indent="0" algn="l" defTabSz="548626" rtl="0" eaLnBrk="1" latinLnBrk="0" hangingPunct="1">
              <a:spcBef>
                <a:spcPts val="480"/>
              </a:spcBef>
              <a:buFont typeface="Arial"/>
              <a:buNone/>
            </a:pPr>
            <a:endParaRPr lang="ru-RU" dirty="0"/>
          </a:p>
          <a:p>
            <a:pPr lvl="0"/>
            <a:r>
              <a:rPr lang="ru-RU" dirty="0"/>
              <a:t>Презентация 28 кегль, без картинки с укрупненным логотипом</a:t>
            </a:r>
          </a:p>
        </p:txBody>
      </p:sp>
      <p:sp>
        <p:nvSpPr>
          <p:cNvPr id="7" name="Date Placeholder 15"/>
          <p:cNvSpPr txBox="1">
            <a:spLocks/>
          </p:cNvSpPr>
          <p:nvPr userDrawn="1"/>
        </p:nvSpPr>
        <p:spPr>
          <a:xfrm rot="16200000">
            <a:off x="10536447" y="4816830"/>
            <a:ext cx="2560320" cy="405695"/>
          </a:xfrm>
          <a:prstGeom prst="rect">
            <a:avLst/>
          </a:prstGeom>
        </p:spPr>
        <p:txBody>
          <a:bodyPr vert="horz" lIns="0" tIns="54864" rIns="109728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5"/>
                </a:solidFill>
                <a:latin typeface="Arial" panose="020B0604020202020204" pitchFamily="34" charset="0"/>
              </a:rPr>
              <a:t>www.aorti.ru</a:t>
            </a:r>
          </a:p>
        </p:txBody>
      </p:sp>
      <p:sp>
        <p:nvSpPr>
          <p:cNvPr id="8" name="Date Placeholder 15"/>
          <p:cNvSpPr>
            <a:spLocks noGrp="1"/>
          </p:cNvSpPr>
          <p:nvPr>
            <p:ph type="dt" sz="half" idx="17"/>
          </p:nvPr>
        </p:nvSpPr>
        <p:spPr>
          <a:xfrm rot="16200000">
            <a:off x="-896344" y="2669898"/>
            <a:ext cx="2560320" cy="405695"/>
          </a:xfrm>
          <a:prstGeom prst="rect">
            <a:avLst/>
          </a:prstGeom>
        </p:spPr>
        <p:txBody>
          <a:bodyPr lIns="0" tIns="0" rIns="0" anchor="t"/>
          <a:lstStyle>
            <a:lvl1pPr>
              <a:defRPr sz="1200">
                <a:solidFill>
                  <a:srgbClr val="00C8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FD82131-30A0-534F-B816-32715689D9A4}" type="datetime3">
              <a:rPr lang="en-US" smtClean="0"/>
              <a:pPr/>
              <a:t>25 June 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40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15"/>
          <p:cNvSpPr txBox="1">
            <a:spLocks/>
          </p:cNvSpPr>
          <p:nvPr userDrawn="1"/>
        </p:nvSpPr>
        <p:spPr>
          <a:xfrm rot="16200000">
            <a:off x="10536447" y="4816830"/>
            <a:ext cx="2560320" cy="405695"/>
          </a:xfrm>
          <a:prstGeom prst="rect">
            <a:avLst/>
          </a:prstGeom>
        </p:spPr>
        <p:txBody>
          <a:bodyPr vert="horz" lIns="0" tIns="54864" rIns="109728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5"/>
                </a:solidFill>
                <a:latin typeface="Arial" panose="020B0604020202020204" pitchFamily="34" charset="0"/>
              </a:rPr>
              <a:t>www.aorti.ru</a:t>
            </a:r>
          </a:p>
        </p:txBody>
      </p:sp>
      <p:pic>
        <p:nvPicPr>
          <p:cNvPr id="1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389" y="195124"/>
            <a:ext cx="1975665" cy="386264"/>
          </a:xfrm>
          <a:prstGeom prst="rect">
            <a:avLst/>
          </a:prstGeom>
        </p:spPr>
      </p:pic>
      <p:sp>
        <p:nvSpPr>
          <p:cNvPr id="18" name="Рисунок 4"/>
          <p:cNvSpPr>
            <a:spLocks noGrp="1"/>
          </p:cNvSpPr>
          <p:nvPr>
            <p:ph type="pic" sz="quarter" idx="15"/>
          </p:nvPr>
        </p:nvSpPr>
        <p:spPr>
          <a:xfrm>
            <a:off x="607167" y="751520"/>
            <a:ext cx="11027096" cy="571665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667" y="4735632"/>
            <a:ext cx="5499328" cy="173254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b" anchorCtr="0">
            <a:normAutofit/>
          </a:bodyPr>
          <a:lstStyle>
            <a:lvl1pPr marL="0" indent="0">
              <a:spcBef>
                <a:spcPts val="480"/>
              </a:spcBef>
              <a:buNone/>
              <a:defRPr sz="288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ru-RU" dirty="0"/>
              <a:t>Название презентации с </a:t>
            </a:r>
            <a:r>
              <a:rPr lang="en-US" dirty="0"/>
              <a:t> </a:t>
            </a:r>
            <a:r>
              <a:rPr lang="ru-RU" dirty="0"/>
              <a:t>паттерном (24 кеглем), шрифт </a:t>
            </a:r>
            <a:r>
              <a:rPr lang="en-US" dirty="0"/>
              <a:t>Aria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8668457" y="331474"/>
            <a:ext cx="2823633" cy="25412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en-US"/>
              <a:t>Pattern</a:t>
            </a:r>
          </a:p>
        </p:txBody>
      </p:sp>
      <p:sp>
        <p:nvSpPr>
          <p:cNvPr id="21" name="Date Placeholder 15"/>
          <p:cNvSpPr>
            <a:spLocks noGrp="1"/>
          </p:cNvSpPr>
          <p:nvPr>
            <p:ph type="dt" sz="half" idx="13"/>
          </p:nvPr>
        </p:nvSpPr>
        <p:spPr>
          <a:xfrm rot="16200000">
            <a:off x="-896344" y="2669898"/>
            <a:ext cx="2560320" cy="405695"/>
          </a:xfrm>
          <a:prstGeom prst="rect">
            <a:avLst/>
          </a:prstGeom>
        </p:spPr>
        <p:txBody>
          <a:bodyPr lIns="0" tIns="0" rIns="0" anchor="t"/>
          <a:lstStyle>
            <a:lvl1pPr>
              <a:defRPr sz="120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FD82131-30A0-534F-B816-32715689D9A4}" type="datetime3">
              <a:rPr lang="en-US" smtClean="0"/>
              <a:pPr/>
              <a:t>25 June 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508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5"/>
          <p:cNvSpPr>
            <a:spLocks noGrp="1"/>
          </p:cNvSpPr>
          <p:nvPr>
            <p:ph type="dt" sz="half" idx="13"/>
          </p:nvPr>
        </p:nvSpPr>
        <p:spPr>
          <a:xfrm rot="16200000">
            <a:off x="-896344" y="2669898"/>
            <a:ext cx="2560320" cy="405695"/>
          </a:xfrm>
          <a:prstGeom prst="rect">
            <a:avLst/>
          </a:prstGeom>
        </p:spPr>
        <p:txBody>
          <a:bodyPr lIns="0" tIns="0" rIns="0" anchor="t"/>
          <a:lstStyle>
            <a:lvl1pPr>
              <a:defRPr sz="1200">
                <a:solidFill>
                  <a:srgbClr val="00C8B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FD82131-30A0-534F-B816-32715689D9A4}" type="datetime3">
              <a:rPr lang="en-US" smtClean="0"/>
              <a:pPr/>
              <a:t>25 June 2019</a:t>
            </a:fld>
            <a:endParaRPr lang="en-US"/>
          </a:p>
        </p:txBody>
      </p:sp>
      <p:sp>
        <p:nvSpPr>
          <p:cNvPr id="10" name="Date Placeholder 15"/>
          <p:cNvSpPr txBox="1">
            <a:spLocks/>
          </p:cNvSpPr>
          <p:nvPr userDrawn="1"/>
        </p:nvSpPr>
        <p:spPr>
          <a:xfrm rot="16200000">
            <a:off x="10536447" y="4816830"/>
            <a:ext cx="2560320" cy="405695"/>
          </a:xfrm>
          <a:prstGeom prst="rect">
            <a:avLst/>
          </a:prstGeom>
        </p:spPr>
        <p:txBody>
          <a:bodyPr vert="horz" lIns="0" tIns="54864" rIns="109728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schemeClr val="accent5"/>
                </a:solidFill>
                <a:latin typeface="Arial" panose="020B0604020202020204" pitchFamily="34" charset="0"/>
              </a:rPr>
              <a:t>www.aorti.ru</a:t>
            </a:r>
          </a:p>
        </p:txBody>
      </p:sp>
      <p:pic>
        <p:nvPicPr>
          <p:cNvPr id="15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389" y="195124"/>
            <a:ext cx="1975665" cy="386264"/>
          </a:xfrm>
          <a:prstGeom prst="rect">
            <a:avLst/>
          </a:prstGeom>
        </p:spPr>
      </p:pic>
      <p:sp>
        <p:nvSpPr>
          <p:cNvPr id="5" name="Рисунок 4"/>
          <p:cNvSpPr>
            <a:spLocks noGrp="1"/>
          </p:cNvSpPr>
          <p:nvPr>
            <p:ph type="pic" sz="quarter" idx="15"/>
          </p:nvPr>
        </p:nvSpPr>
        <p:spPr>
          <a:xfrm>
            <a:off x="586663" y="751520"/>
            <a:ext cx="11027096" cy="5716656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69337" y="4735632"/>
            <a:ext cx="5499328" cy="173254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b" anchorCtr="0">
            <a:normAutofit/>
          </a:bodyPr>
          <a:lstStyle>
            <a:lvl1pPr marL="0" indent="0">
              <a:spcBef>
                <a:spcPts val="480"/>
              </a:spcBef>
              <a:buNone/>
              <a:defRPr sz="336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ru-RU" dirty="0"/>
              <a:t>Название презентации 2</a:t>
            </a:r>
            <a:r>
              <a:rPr lang="en-US" dirty="0"/>
              <a:t>8</a:t>
            </a:r>
            <a:r>
              <a:rPr lang="ru-RU" dirty="0"/>
              <a:t> кеглем шрифт </a:t>
            </a:r>
            <a:r>
              <a:rPr lang="en-US" dirty="0"/>
              <a:t>Arial</a:t>
            </a:r>
          </a:p>
        </p:txBody>
      </p:sp>
    </p:spTree>
    <p:extLst>
      <p:ext uri="{BB962C8B-B14F-4D97-AF65-F5344CB8AC3E}">
        <p14:creationId xmlns:p14="http://schemas.microsoft.com/office/powerpoint/2010/main" val="3302629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5378261" y="1067117"/>
            <a:ext cx="6006395" cy="522732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/>
              <a:t>Pattern</a:t>
            </a:r>
          </a:p>
        </p:txBody>
      </p:sp>
      <p:sp>
        <p:nvSpPr>
          <p:cNvPr id="28" name="Content Placeholder 27"/>
          <p:cNvSpPr>
            <a:spLocks noGrp="1"/>
          </p:cNvSpPr>
          <p:nvPr>
            <p:ph sz="quarter" idx="15" hasCustomPrompt="1"/>
          </p:nvPr>
        </p:nvSpPr>
        <p:spPr>
          <a:xfrm>
            <a:off x="670175" y="1840525"/>
            <a:ext cx="3634317" cy="2265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26709" marR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440" baseline="0">
                <a:solidFill>
                  <a:srgbClr val="001D4D"/>
                </a:solidFill>
              </a:defRPr>
            </a:lvl1pPr>
            <a:lvl2pPr marL="548626" indent="0">
              <a:buNone/>
              <a:defRPr sz="1920">
                <a:solidFill>
                  <a:srgbClr val="FFFFFF"/>
                </a:solidFill>
              </a:defRPr>
            </a:lvl2pPr>
            <a:lvl3pPr marL="1097253" indent="0">
              <a:buNone/>
              <a:defRPr sz="1920">
                <a:solidFill>
                  <a:srgbClr val="FFFFFF"/>
                </a:solidFill>
              </a:defRPr>
            </a:lvl3pPr>
            <a:lvl4pPr marL="1645879" indent="0">
              <a:buNone/>
              <a:defRPr sz="1920">
                <a:solidFill>
                  <a:srgbClr val="FFFFFF"/>
                </a:solidFill>
              </a:defRPr>
            </a:lvl4pPr>
            <a:lvl5pPr marL="2194505" indent="0">
              <a:buNone/>
              <a:defRPr sz="192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Подраздел</a:t>
            </a:r>
            <a:r>
              <a:rPr lang="en-US" dirty="0"/>
              <a:t> 1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2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3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4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5</a:t>
            </a:r>
          </a:p>
          <a:p>
            <a:pPr lvl="0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198173"/>
            <a:ext cx="1975665" cy="386264"/>
          </a:xfrm>
          <a:prstGeom prst="rect">
            <a:avLst/>
          </a:prstGeom>
        </p:spPr>
      </p:pic>
      <p:sp>
        <p:nvSpPr>
          <p:cNvPr id="1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40388" y="238761"/>
            <a:ext cx="6934215" cy="9855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640" b="1" baseline="0">
                <a:solidFill>
                  <a:schemeClr val="tx1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Н</a:t>
            </a:r>
            <a:r>
              <a:rPr lang="ru-RU" dirty="0" err="1"/>
              <a:t>азвание</a:t>
            </a:r>
            <a:r>
              <a:rPr lang="ru-RU" dirty="0"/>
              <a:t> раздела (слайд разделитель)</a:t>
            </a:r>
            <a:endParaRPr lang="en-US" dirty="0"/>
          </a:p>
        </p:txBody>
      </p:sp>
      <p:sp>
        <p:nvSpPr>
          <p:cNvPr id="19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117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lue">
    <p:bg>
      <p:bgPr>
        <a:solidFill>
          <a:srgbClr val="001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601315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2"/>
                </a:solidFill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40391" y="238761"/>
            <a:ext cx="6752632" cy="98552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640" b="1" baseline="0">
                <a:solidFill>
                  <a:schemeClr val="bg1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Н</a:t>
            </a:r>
            <a:r>
              <a:rPr lang="ru-RU" dirty="0" err="1"/>
              <a:t>азвание</a:t>
            </a:r>
            <a:r>
              <a:rPr lang="ru-RU" dirty="0"/>
              <a:t> раздела ( слайд разделитель 2)</a:t>
            </a:r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4854223" y="731523"/>
            <a:ext cx="6322485" cy="564157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/>
              <a:t>Pattern</a:t>
            </a:r>
          </a:p>
        </p:txBody>
      </p:sp>
      <p:sp>
        <p:nvSpPr>
          <p:cNvPr id="28" name="Content Placeholder 27"/>
          <p:cNvSpPr>
            <a:spLocks noGrp="1"/>
          </p:cNvSpPr>
          <p:nvPr>
            <p:ph sz="quarter" idx="15" hasCustomPrompt="1"/>
          </p:nvPr>
        </p:nvSpPr>
        <p:spPr>
          <a:xfrm>
            <a:off x="640392" y="1785107"/>
            <a:ext cx="3966827" cy="22650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26709" marR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440" baseline="0">
                <a:solidFill>
                  <a:srgbClr val="FFFFFF"/>
                </a:solidFill>
              </a:defRPr>
            </a:lvl1pPr>
            <a:lvl2pPr marL="548626" indent="0">
              <a:buNone/>
              <a:defRPr sz="1920">
                <a:solidFill>
                  <a:srgbClr val="FFFFFF"/>
                </a:solidFill>
              </a:defRPr>
            </a:lvl2pPr>
            <a:lvl3pPr marL="1097253" indent="0">
              <a:buNone/>
              <a:defRPr sz="1920">
                <a:solidFill>
                  <a:srgbClr val="FFFFFF"/>
                </a:solidFill>
              </a:defRPr>
            </a:lvl3pPr>
            <a:lvl4pPr marL="1645879" indent="0">
              <a:buNone/>
              <a:defRPr sz="1920">
                <a:solidFill>
                  <a:srgbClr val="FFFFFF"/>
                </a:solidFill>
              </a:defRPr>
            </a:lvl4pPr>
            <a:lvl5pPr marL="2194505" indent="0">
              <a:buNone/>
              <a:defRPr sz="192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Подраздел</a:t>
            </a:r>
            <a:r>
              <a:rPr lang="en-US" dirty="0"/>
              <a:t> 1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2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3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4</a:t>
            </a:r>
          </a:p>
          <a:p>
            <a:pPr marL="426709" marR="0" lvl="0" indent="-426709" algn="l" defTabSz="-2247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 err="1"/>
              <a:t>Подраздел</a:t>
            </a:r>
            <a:r>
              <a:rPr lang="en-US" dirty="0"/>
              <a:t> 5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344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74560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22792"/>
            <a:ext cx="2743200" cy="871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629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1 C.pptx</a:t>
            </a:r>
            <a:endParaRPr lang="ru-RU" sz="629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ectangle 18"/>
          <p:cNvSpPr>
            <a:spLocks noChangeArrowheads="1"/>
          </p:cNvSpPr>
          <p:nvPr userDrawn="1"/>
        </p:nvSpPr>
        <p:spPr bwMode="auto">
          <a:xfrm>
            <a:off x="9014293" y="3431470"/>
            <a:ext cx="2547196" cy="1148716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wrap="none" lIns="81000" tIns="42120" rIns="81000" bIns="4212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63" b="1" noProof="1">
              <a:solidFill>
                <a:srgbClr val="000000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2111" y="135327"/>
            <a:ext cx="8138235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rgbClr val="001D4D"/>
                </a:solidFill>
              </a:defRPr>
            </a:lvl1pPr>
            <a:lvl2pPr marL="548626" indent="0">
              <a:buNone/>
              <a:defRPr/>
            </a:lvl2pPr>
            <a:lvl3pPr marL="1097253" indent="0">
              <a:buNone/>
              <a:defRPr/>
            </a:lvl3pPr>
            <a:lvl4pPr marL="1645879" indent="0">
              <a:buNone/>
              <a:defRPr/>
            </a:lvl4pPr>
            <a:lvl5pPr marL="2194505" indent="0">
              <a:buNone/>
              <a:defRPr/>
            </a:lvl5pPr>
          </a:lstStyle>
          <a:p>
            <a:pPr lvl="0"/>
            <a:r>
              <a:rPr lang="bg-BG" dirty="0"/>
              <a:t>Заголовок</a:t>
            </a:r>
            <a:endParaRPr lang="ru-RU" dirty="0"/>
          </a:p>
        </p:txBody>
      </p:sp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309" y="213003"/>
            <a:ext cx="1975665" cy="386264"/>
          </a:xfrm>
          <a:prstGeom prst="rect">
            <a:avLst/>
          </a:prstGeom>
        </p:spPr>
      </p:pic>
      <p:sp>
        <p:nvSpPr>
          <p:cNvPr id="11" name="Slide Number Placeholder 13"/>
          <p:cNvSpPr>
            <a:spLocks noGrp="1"/>
          </p:cNvSpPr>
          <p:nvPr>
            <p:ph type="sldNum" sz="quarter" idx="12"/>
          </p:nvPr>
        </p:nvSpPr>
        <p:spPr>
          <a:xfrm rot="16200000">
            <a:off x="11238204" y="5560575"/>
            <a:ext cx="1062041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11"/>
          </p:nvPr>
        </p:nvSpPr>
        <p:spPr>
          <a:xfrm rot="16200000">
            <a:off x="10033040" y="2576413"/>
            <a:ext cx="3474720" cy="40569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96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96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7" r:id="rId1"/>
    <p:sldLayoutId id="2147493468" r:id="rId2"/>
    <p:sldLayoutId id="2147493457" r:id="rId3"/>
    <p:sldLayoutId id="2147493551" r:id="rId4"/>
    <p:sldLayoutId id="2147493483" r:id="rId5"/>
    <p:sldLayoutId id="2147493550" r:id="rId6"/>
    <p:sldLayoutId id="2147493470" r:id="rId7"/>
    <p:sldLayoutId id="2147493469" r:id="rId8"/>
    <p:sldLayoutId id="2147493549" r:id="rId9"/>
    <p:sldLayoutId id="2147493477" r:id="rId10"/>
    <p:sldLayoutId id="2147493471" r:id="rId11"/>
    <p:sldLayoutId id="2147493472" r:id="rId12"/>
    <p:sldLayoutId id="2147493475" r:id="rId13"/>
    <p:sldLayoutId id="2147493473" r:id="rId14"/>
    <p:sldLayoutId id="2147493554" r:id="rId15"/>
    <p:sldLayoutId id="2147493474" r:id="rId16"/>
    <p:sldLayoutId id="2147493476" r:id="rId17"/>
    <p:sldLayoutId id="2147493552" r:id="rId18"/>
  </p:sldLayoutIdLst>
  <p:hf hdr="0"/>
  <p:txStyles>
    <p:titleStyle>
      <a:lvl1pPr algn="ctr" defTabSz="548626" rtl="0" eaLnBrk="1" latinLnBrk="0" hangingPunct="1">
        <a:spcBef>
          <a:spcPct val="0"/>
        </a:spcBef>
        <a:buNone/>
        <a:defRPr sz="528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411470" indent="-411470" algn="l" defTabSz="548626" rtl="0" eaLnBrk="1" latinLnBrk="0" hangingPunct="1">
        <a:spcBef>
          <a:spcPct val="20000"/>
        </a:spcBef>
        <a:buFont typeface="Arial"/>
        <a:buChar char="•"/>
        <a:defRPr sz="384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891518" indent="-342891" algn="l" defTabSz="548626" rtl="0" eaLnBrk="1" latinLnBrk="0" hangingPunct="1">
        <a:spcBef>
          <a:spcPct val="20000"/>
        </a:spcBef>
        <a:buFont typeface="Arial"/>
        <a:buChar char="–"/>
        <a:defRPr sz="336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371566" indent="-274313" algn="l" defTabSz="548626" rtl="0" eaLnBrk="1" latinLnBrk="0" hangingPunct="1">
        <a:spcBef>
          <a:spcPct val="20000"/>
        </a:spcBef>
        <a:buFont typeface="Arial"/>
        <a:buChar char="•"/>
        <a:defRPr sz="288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920192" indent="-274313" algn="l" defTabSz="548626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468818" indent="-274313" algn="l" defTabSz="548626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3017445" indent="-274313" algn="l" defTabSz="548626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071" indent="-274313" algn="l" defTabSz="548626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697" indent="-274313" algn="l" defTabSz="548626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323" indent="-274313" algn="l" defTabSz="548626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26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53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79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05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131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758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384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010" algn="l" defTabSz="548626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amaslov@aorti.ru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5FD82131-30A0-534F-B816-32715689D9A4}" type="datetime3">
              <a:rPr lang="en-US" smtClean="0"/>
              <a:pPr/>
              <a:t>25 June 2019</a:t>
            </a:fld>
            <a:endParaRPr lang="en-US"/>
          </a:p>
        </p:txBody>
      </p:sp>
      <p:pic>
        <p:nvPicPr>
          <p:cNvPr id="8" name="Рисунок 7"/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Автоматизированные системы управления 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8638" y="751526"/>
            <a:ext cx="2613349" cy="259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5980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Стрелка вниз 79"/>
          <p:cNvSpPr/>
          <p:nvPr/>
        </p:nvSpPr>
        <p:spPr>
          <a:xfrm>
            <a:off x="4093886" y="1298247"/>
            <a:ext cx="1967893" cy="2481638"/>
          </a:xfrm>
          <a:prstGeom prst="downArrow">
            <a:avLst/>
          </a:prstGeom>
          <a:solidFill>
            <a:schemeClr val="accent6">
              <a:lumMod val="75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361988" y="6019399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30"/>
            <a:ext cx="8680327" cy="67089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Краткосрочное планирование – определение одной задачи для каждого исполнителя в один момент </a:t>
            </a:r>
            <a:r>
              <a:rPr lang="ru-RU" dirty="0" smtClean="0"/>
              <a:t>времени</a:t>
            </a:r>
            <a:endParaRPr lang="bg-BG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139533" y="978208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оручения</a:t>
            </a:r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39533" y="1653326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отоколы совещаний</a:t>
            </a:r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39533" y="2328444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Официальная переписка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39533" y="3003562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нутренняя переписка</a:t>
            </a:r>
            <a:endParaRPr lang="ru-RU" sz="1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39533" y="3678680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Согласование документов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39533" y="4353798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Основные проектные задачи </a:t>
            </a:r>
            <a:endParaRPr lang="ru-RU" sz="1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39533" y="5028916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err="1" smtClean="0"/>
              <a:t>Административ-ные</a:t>
            </a:r>
            <a:r>
              <a:rPr lang="ru-RU" sz="1400" dirty="0" smtClean="0"/>
              <a:t> задачи 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39533" y="5695489"/>
            <a:ext cx="1642987" cy="5042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оцессные задачи</a:t>
            </a:r>
            <a:endParaRPr lang="ru-RU" sz="1400" dirty="0"/>
          </a:p>
        </p:txBody>
      </p:sp>
      <p:sp>
        <p:nvSpPr>
          <p:cNvPr id="14" name="Стрелка вправо 13"/>
          <p:cNvSpPr/>
          <p:nvPr/>
        </p:nvSpPr>
        <p:spPr>
          <a:xfrm>
            <a:off x="1927799" y="1772256"/>
            <a:ext cx="1450825" cy="3256660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542954" y="1467320"/>
            <a:ext cx="2999574" cy="44366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Задачи первого приоритета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542954" y="2084607"/>
            <a:ext cx="2999574" cy="44366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Задачи второго приоритета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542954" y="3080192"/>
            <a:ext cx="2999574" cy="44366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Задачи </a:t>
            </a:r>
            <a:r>
              <a:rPr lang="en-US" sz="1800" dirty="0" smtClean="0">
                <a:solidFill>
                  <a:schemeClr val="accent3">
                    <a:lumMod val="50000"/>
                  </a:schemeClr>
                </a:solidFill>
              </a:rPr>
              <a:t>N-</a:t>
            </a:r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го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приоритета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773548" y="2591503"/>
            <a:ext cx="376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…</a:t>
            </a:r>
            <a:endParaRPr lang="ru-RU" dirty="0"/>
          </a:p>
        </p:txBody>
      </p:sp>
      <p:sp>
        <p:nvSpPr>
          <p:cNvPr id="19" name="Стрелка вправо 18"/>
          <p:cNvSpPr/>
          <p:nvPr/>
        </p:nvSpPr>
        <p:spPr>
          <a:xfrm>
            <a:off x="6867268" y="1772256"/>
            <a:ext cx="1128045" cy="3256660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8333733" y="835488"/>
            <a:ext cx="2444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Конвейер исполнителя</a:t>
            </a:r>
            <a:endParaRPr lang="ru-RU" dirty="0"/>
          </a:p>
        </p:txBody>
      </p:sp>
      <p:grpSp>
        <p:nvGrpSpPr>
          <p:cNvPr id="21" name="Группа 20"/>
          <p:cNvGrpSpPr/>
          <p:nvPr/>
        </p:nvGrpSpPr>
        <p:grpSpPr>
          <a:xfrm>
            <a:off x="8081714" y="1235086"/>
            <a:ext cx="3038742" cy="556188"/>
            <a:chOff x="8059627" y="1050924"/>
            <a:chExt cx="3038742" cy="556188"/>
          </a:xfrm>
        </p:grpSpPr>
        <p:sp>
          <p:nvSpPr>
            <p:cNvPr id="22" name="Стрелка вправо 21"/>
            <p:cNvSpPr/>
            <p:nvPr/>
          </p:nvSpPr>
          <p:spPr>
            <a:xfrm>
              <a:off x="8059627" y="1050924"/>
              <a:ext cx="3038742" cy="55618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Овал 22"/>
            <p:cNvSpPr/>
            <p:nvPr/>
          </p:nvSpPr>
          <p:spPr>
            <a:xfrm>
              <a:off x="8136613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Овал 23"/>
            <p:cNvSpPr/>
            <p:nvPr/>
          </p:nvSpPr>
          <p:spPr>
            <a:xfrm>
              <a:off x="8683544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Овал 24"/>
            <p:cNvSpPr/>
            <p:nvPr/>
          </p:nvSpPr>
          <p:spPr>
            <a:xfrm>
              <a:off x="9217657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Овал 25"/>
            <p:cNvSpPr/>
            <p:nvPr/>
          </p:nvSpPr>
          <p:spPr>
            <a:xfrm>
              <a:off x="9777409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Овал 26"/>
            <p:cNvSpPr/>
            <p:nvPr/>
          </p:nvSpPr>
          <p:spPr>
            <a:xfrm>
              <a:off x="10337161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11265734" y="1298248"/>
            <a:ext cx="777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сп. 1</a:t>
            </a:r>
            <a:endParaRPr lang="ru-RU" dirty="0"/>
          </a:p>
        </p:txBody>
      </p:sp>
      <p:grpSp>
        <p:nvGrpSpPr>
          <p:cNvPr id="29" name="Группа 28"/>
          <p:cNvGrpSpPr/>
          <p:nvPr/>
        </p:nvGrpSpPr>
        <p:grpSpPr>
          <a:xfrm>
            <a:off x="8081714" y="1998868"/>
            <a:ext cx="3038742" cy="556188"/>
            <a:chOff x="8059627" y="1050924"/>
            <a:chExt cx="3038742" cy="556188"/>
          </a:xfrm>
        </p:grpSpPr>
        <p:sp>
          <p:nvSpPr>
            <p:cNvPr id="30" name="Стрелка вправо 29"/>
            <p:cNvSpPr/>
            <p:nvPr/>
          </p:nvSpPr>
          <p:spPr>
            <a:xfrm>
              <a:off x="8059627" y="1050924"/>
              <a:ext cx="3038742" cy="55618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Овал 30"/>
            <p:cNvSpPr/>
            <p:nvPr/>
          </p:nvSpPr>
          <p:spPr>
            <a:xfrm>
              <a:off x="8136613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Овал 31"/>
            <p:cNvSpPr/>
            <p:nvPr/>
          </p:nvSpPr>
          <p:spPr>
            <a:xfrm>
              <a:off x="8683544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Овал 32"/>
            <p:cNvSpPr/>
            <p:nvPr/>
          </p:nvSpPr>
          <p:spPr>
            <a:xfrm>
              <a:off x="9217657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Овал 33"/>
            <p:cNvSpPr/>
            <p:nvPr/>
          </p:nvSpPr>
          <p:spPr>
            <a:xfrm>
              <a:off x="9777409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Овал 34"/>
            <p:cNvSpPr/>
            <p:nvPr/>
          </p:nvSpPr>
          <p:spPr>
            <a:xfrm>
              <a:off x="10337161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11265734" y="2062030"/>
            <a:ext cx="777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сп. 2</a:t>
            </a:r>
            <a:endParaRPr lang="ru-RU" dirty="0"/>
          </a:p>
        </p:txBody>
      </p:sp>
      <p:grpSp>
        <p:nvGrpSpPr>
          <p:cNvPr id="37" name="Группа 36"/>
          <p:cNvGrpSpPr/>
          <p:nvPr/>
        </p:nvGrpSpPr>
        <p:grpSpPr>
          <a:xfrm>
            <a:off x="8081714" y="2786792"/>
            <a:ext cx="3038742" cy="556188"/>
            <a:chOff x="8059627" y="1050924"/>
            <a:chExt cx="3038742" cy="556188"/>
          </a:xfrm>
        </p:grpSpPr>
        <p:sp>
          <p:nvSpPr>
            <p:cNvPr id="38" name="Стрелка вправо 37"/>
            <p:cNvSpPr/>
            <p:nvPr/>
          </p:nvSpPr>
          <p:spPr>
            <a:xfrm>
              <a:off x="8059627" y="1050924"/>
              <a:ext cx="3038742" cy="55618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Овал 38"/>
            <p:cNvSpPr/>
            <p:nvPr/>
          </p:nvSpPr>
          <p:spPr>
            <a:xfrm>
              <a:off x="8136613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Овал 39"/>
            <p:cNvSpPr/>
            <p:nvPr/>
          </p:nvSpPr>
          <p:spPr>
            <a:xfrm>
              <a:off x="8683544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Овал 40"/>
            <p:cNvSpPr/>
            <p:nvPr/>
          </p:nvSpPr>
          <p:spPr>
            <a:xfrm>
              <a:off x="9217657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Овал 41"/>
            <p:cNvSpPr/>
            <p:nvPr/>
          </p:nvSpPr>
          <p:spPr>
            <a:xfrm>
              <a:off x="9777409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Овал 42"/>
            <p:cNvSpPr/>
            <p:nvPr/>
          </p:nvSpPr>
          <p:spPr>
            <a:xfrm>
              <a:off x="10337161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11265734" y="2849954"/>
            <a:ext cx="777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сп. 3</a:t>
            </a:r>
            <a:endParaRPr lang="ru-RU" dirty="0"/>
          </a:p>
        </p:txBody>
      </p:sp>
      <p:grpSp>
        <p:nvGrpSpPr>
          <p:cNvPr id="45" name="Группа 44"/>
          <p:cNvGrpSpPr/>
          <p:nvPr/>
        </p:nvGrpSpPr>
        <p:grpSpPr>
          <a:xfrm>
            <a:off x="8081714" y="3604398"/>
            <a:ext cx="3038742" cy="556188"/>
            <a:chOff x="8059627" y="1050924"/>
            <a:chExt cx="3038742" cy="556188"/>
          </a:xfrm>
        </p:grpSpPr>
        <p:sp>
          <p:nvSpPr>
            <p:cNvPr id="46" name="Стрелка вправо 45"/>
            <p:cNvSpPr/>
            <p:nvPr/>
          </p:nvSpPr>
          <p:spPr>
            <a:xfrm>
              <a:off x="8059627" y="1050924"/>
              <a:ext cx="3038742" cy="55618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Овал 46"/>
            <p:cNvSpPr/>
            <p:nvPr/>
          </p:nvSpPr>
          <p:spPr>
            <a:xfrm>
              <a:off x="8136613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Овал 47"/>
            <p:cNvSpPr/>
            <p:nvPr/>
          </p:nvSpPr>
          <p:spPr>
            <a:xfrm>
              <a:off x="8683544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9217657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Овал 49"/>
            <p:cNvSpPr/>
            <p:nvPr/>
          </p:nvSpPr>
          <p:spPr>
            <a:xfrm>
              <a:off x="9777409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Овал 50"/>
            <p:cNvSpPr/>
            <p:nvPr/>
          </p:nvSpPr>
          <p:spPr>
            <a:xfrm>
              <a:off x="10337161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11265734" y="3667560"/>
            <a:ext cx="777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сп. 4</a:t>
            </a:r>
            <a:endParaRPr lang="ru-RU" dirty="0"/>
          </a:p>
        </p:txBody>
      </p:sp>
      <p:grpSp>
        <p:nvGrpSpPr>
          <p:cNvPr id="53" name="Группа 52"/>
          <p:cNvGrpSpPr/>
          <p:nvPr/>
        </p:nvGrpSpPr>
        <p:grpSpPr>
          <a:xfrm>
            <a:off x="8081714" y="4402356"/>
            <a:ext cx="3038742" cy="556188"/>
            <a:chOff x="8059627" y="1050924"/>
            <a:chExt cx="3038742" cy="556188"/>
          </a:xfrm>
        </p:grpSpPr>
        <p:sp>
          <p:nvSpPr>
            <p:cNvPr id="54" name="Стрелка вправо 53"/>
            <p:cNvSpPr/>
            <p:nvPr/>
          </p:nvSpPr>
          <p:spPr>
            <a:xfrm>
              <a:off x="8059627" y="1050924"/>
              <a:ext cx="3038742" cy="55618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вал 54"/>
            <p:cNvSpPr/>
            <p:nvPr/>
          </p:nvSpPr>
          <p:spPr>
            <a:xfrm>
              <a:off x="8136613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Овал 55"/>
            <p:cNvSpPr/>
            <p:nvPr/>
          </p:nvSpPr>
          <p:spPr>
            <a:xfrm>
              <a:off x="8683544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Овал 56"/>
            <p:cNvSpPr/>
            <p:nvPr/>
          </p:nvSpPr>
          <p:spPr>
            <a:xfrm>
              <a:off x="9217657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Овал 57"/>
            <p:cNvSpPr/>
            <p:nvPr/>
          </p:nvSpPr>
          <p:spPr>
            <a:xfrm>
              <a:off x="9777409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Овал 58"/>
            <p:cNvSpPr/>
            <p:nvPr/>
          </p:nvSpPr>
          <p:spPr>
            <a:xfrm>
              <a:off x="10337161" y="1099140"/>
              <a:ext cx="418744" cy="337559"/>
            </a:xfrm>
            <a:prstGeom prst="ellipse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11265734" y="4465518"/>
            <a:ext cx="8098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сп. </a:t>
            </a:r>
            <a:r>
              <a:rPr lang="en-US" dirty="0"/>
              <a:t>N</a:t>
            </a:r>
            <a:endParaRPr lang="ru-RU" dirty="0"/>
          </a:p>
        </p:txBody>
      </p:sp>
      <p:cxnSp>
        <p:nvCxnSpPr>
          <p:cNvPr id="61" name="Прямая со стрелкой 60"/>
          <p:cNvCxnSpPr/>
          <p:nvPr/>
        </p:nvCxnSpPr>
        <p:spPr>
          <a:xfrm flipH="1" flipV="1">
            <a:off x="10584690" y="4788132"/>
            <a:ext cx="6309" cy="8002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10195084" y="5578258"/>
            <a:ext cx="16823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На исполнении</a:t>
            </a:r>
            <a:endParaRPr lang="ru-RU" dirty="0"/>
          </a:p>
        </p:txBody>
      </p:sp>
      <p:sp>
        <p:nvSpPr>
          <p:cNvPr id="63" name="TextBox 62"/>
          <p:cNvSpPr txBox="1"/>
          <p:nvPr/>
        </p:nvSpPr>
        <p:spPr>
          <a:xfrm>
            <a:off x="9529044" y="6064111"/>
            <a:ext cx="13783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 ожидании</a:t>
            </a:r>
            <a:endParaRPr lang="ru-RU" dirty="0"/>
          </a:p>
        </p:txBody>
      </p:sp>
      <p:cxnSp>
        <p:nvCxnSpPr>
          <p:cNvPr id="64" name="Прямая со стрелкой 63"/>
          <p:cNvCxnSpPr>
            <a:endCxn id="58" idx="4"/>
          </p:cNvCxnSpPr>
          <p:nvPr/>
        </p:nvCxnSpPr>
        <p:spPr>
          <a:xfrm flipH="1" flipV="1">
            <a:off x="10008868" y="4788131"/>
            <a:ext cx="28890" cy="12759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Стрелка вправо 64"/>
          <p:cNvSpPr/>
          <p:nvPr/>
        </p:nvSpPr>
        <p:spPr>
          <a:xfrm>
            <a:off x="3414767" y="3884491"/>
            <a:ext cx="3127761" cy="29839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/>
          <p:cNvSpPr/>
          <p:nvPr/>
        </p:nvSpPr>
        <p:spPr>
          <a:xfrm>
            <a:off x="5899241" y="3850308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7" name="Овал 66"/>
          <p:cNvSpPr/>
          <p:nvPr/>
        </p:nvSpPr>
        <p:spPr>
          <a:xfrm>
            <a:off x="5456780" y="3850308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68" name="Овал 67"/>
          <p:cNvSpPr/>
          <p:nvPr/>
        </p:nvSpPr>
        <p:spPr>
          <a:xfrm>
            <a:off x="5041349" y="3850308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69" name="Овал 68"/>
          <p:cNvSpPr/>
          <p:nvPr/>
        </p:nvSpPr>
        <p:spPr>
          <a:xfrm>
            <a:off x="4599103" y="3850308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70" name="Овал 69"/>
          <p:cNvSpPr/>
          <p:nvPr/>
        </p:nvSpPr>
        <p:spPr>
          <a:xfrm>
            <a:off x="4171341" y="3850308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8</a:t>
            </a:r>
          </a:p>
        </p:txBody>
      </p:sp>
      <p:sp>
        <p:nvSpPr>
          <p:cNvPr id="71" name="Овал 70"/>
          <p:cNvSpPr/>
          <p:nvPr/>
        </p:nvSpPr>
        <p:spPr>
          <a:xfrm>
            <a:off x="3476772" y="3850308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</a:t>
            </a:r>
            <a:endParaRPr lang="ru-RU" dirty="0"/>
          </a:p>
        </p:txBody>
      </p:sp>
      <p:sp>
        <p:nvSpPr>
          <p:cNvPr id="72" name="TextBox 71"/>
          <p:cNvSpPr txBox="1"/>
          <p:nvPr/>
        </p:nvSpPr>
        <p:spPr>
          <a:xfrm>
            <a:off x="8005019" y="5015648"/>
            <a:ext cx="1917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рогноз нагрузки</a:t>
            </a:r>
            <a:endParaRPr lang="ru-RU" dirty="0"/>
          </a:p>
        </p:txBody>
      </p:sp>
      <p:sp>
        <p:nvSpPr>
          <p:cNvPr id="73" name="Левая круглая скобка 72"/>
          <p:cNvSpPr/>
          <p:nvPr/>
        </p:nvSpPr>
        <p:spPr>
          <a:xfrm rot="16200000">
            <a:off x="8859977" y="4172661"/>
            <a:ext cx="142061" cy="1512739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/>
          <p:cNvSpPr/>
          <p:nvPr/>
        </p:nvSpPr>
        <p:spPr>
          <a:xfrm>
            <a:off x="5456780" y="4194706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75" name="Овал 74"/>
          <p:cNvSpPr/>
          <p:nvPr/>
        </p:nvSpPr>
        <p:spPr>
          <a:xfrm>
            <a:off x="4599103" y="4222973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76" name="Овал 75"/>
          <p:cNvSpPr/>
          <p:nvPr/>
        </p:nvSpPr>
        <p:spPr>
          <a:xfrm>
            <a:off x="5456780" y="4555547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77" name="Овал 76"/>
          <p:cNvSpPr/>
          <p:nvPr/>
        </p:nvSpPr>
        <p:spPr>
          <a:xfrm>
            <a:off x="4171341" y="4217065"/>
            <a:ext cx="384561" cy="332574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78" name="TextBox 77"/>
          <p:cNvSpPr txBox="1"/>
          <p:nvPr/>
        </p:nvSpPr>
        <p:spPr>
          <a:xfrm>
            <a:off x="4071126" y="5468798"/>
            <a:ext cx="3287310" cy="10895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Возможное параллельное</a:t>
            </a:r>
            <a:endParaRPr lang="ru-RU" dirty="0"/>
          </a:p>
          <a:p>
            <a:r>
              <a:rPr lang="ru-RU" dirty="0" smtClean="0"/>
              <a:t>исполнение при наличии </a:t>
            </a:r>
          </a:p>
          <a:p>
            <a:r>
              <a:rPr lang="ru-RU" dirty="0" smtClean="0"/>
              <a:t>ресурсов</a:t>
            </a:r>
            <a:endParaRPr lang="ru-RU" dirty="0"/>
          </a:p>
        </p:txBody>
      </p:sp>
      <p:cxnSp>
        <p:nvCxnSpPr>
          <p:cNvPr id="79" name="Прямая со стрелкой 78"/>
          <p:cNvCxnSpPr/>
          <p:nvPr/>
        </p:nvCxnSpPr>
        <p:spPr>
          <a:xfrm flipH="1" flipV="1">
            <a:off x="4675623" y="5040701"/>
            <a:ext cx="303025" cy="4451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 flipV="1">
            <a:off x="5233629" y="4958544"/>
            <a:ext cx="317587" cy="5272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1927799" y="1298247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dirty="0"/>
          </a:p>
        </p:txBody>
      </p:sp>
      <p:sp>
        <p:nvSpPr>
          <p:cNvPr id="83" name="Прямоугольник 82"/>
          <p:cNvSpPr/>
          <p:nvPr/>
        </p:nvSpPr>
        <p:spPr>
          <a:xfrm>
            <a:off x="2099031" y="1145772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dirty="0"/>
          </a:p>
        </p:txBody>
      </p:sp>
      <p:sp>
        <p:nvSpPr>
          <p:cNvPr id="84" name="Прямоугольник 83"/>
          <p:cNvSpPr/>
          <p:nvPr/>
        </p:nvSpPr>
        <p:spPr>
          <a:xfrm>
            <a:off x="1967663" y="993297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dirty="0"/>
          </a:p>
        </p:txBody>
      </p:sp>
      <p:sp>
        <p:nvSpPr>
          <p:cNvPr id="85" name="Прямоугольник 84"/>
          <p:cNvSpPr/>
          <p:nvPr/>
        </p:nvSpPr>
        <p:spPr>
          <a:xfrm>
            <a:off x="2333723" y="1687719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86" name="Прямоугольник 85"/>
          <p:cNvSpPr/>
          <p:nvPr/>
        </p:nvSpPr>
        <p:spPr>
          <a:xfrm>
            <a:off x="1891851" y="2007328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87" name="Прямоугольник 86"/>
          <p:cNvSpPr/>
          <p:nvPr/>
        </p:nvSpPr>
        <p:spPr>
          <a:xfrm>
            <a:off x="2449599" y="1878316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88" name="Прямоугольник 87"/>
          <p:cNvSpPr/>
          <p:nvPr/>
        </p:nvSpPr>
        <p:spPr>
          <a:xfrm>
            <a:off x="1803885" y="2443739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89" name="Прямоугольник 88"/>
          <p:cNvSpPr/>
          <p:nvPr/>
        </p:nvSpPr>
        <p:spPr>
          <a:xfrm>
            <a:off x="2171354" y="2657442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1844848" y="3075230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1" name="Прямоугольник 90"/>
          <p:cNvSpPr/>
          <p:nvPr/>
        </p:nvSpPr>
        <p:spPr>
          <a:xfrm>
            <a:off x="1766992" y="3229387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2" name="Прямоугольник 91"/>
          <p:cNvSpPr/>
          <p:nvPr/>
        </p:nvSpPr>
        <p:spPr>
          <a:xfrm>
            <a:off x="2254102" y="3338691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3" name="Прямоугольник 92"/>
          <p:cNvSpPr/>
          <p:nvPr/>
        </p:nvSpPr>
        <p:spPr>
          <a:xfrm>
            <a:off x="2417047" y="3081900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4" name="Прямоугольник 93"/>
          <p:cNvSpPr/>
          <p:nvPr/>
        </p:nvSpPr>
        <p:spPr>
          <a:xfrm>
            <a:off x="1751968" y="3791592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5" name="Прямоугольник 94"/>
          <p:cNvSpPr/>
          <p:nvPr/>
        </p:nvSpPr>
        <p:spPr>
          <a:xfrm>
            <a:off x="1803135" y="3960665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2384237" y="3886979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7" name="Прямоугольник 96"/>
          <p:cNvSpPr/>
          <p:nvPr/>
        </p:nvSpPr>
        <p:spPr>
          <a:xfrm>
            <a:off x="1850887" y="4396245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961255" y="4599613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99" name="Прямоугольник 98"/>
          <p:cNvSpPr/>
          <p:nvPr/>
        </p:nvSpPr>
        <p:spPr>
          <a:xfrm>
            <a:off x="2312362" y="5035586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100" name="Прямоугольник 99"/>
          <p:cNvSpPr/>
          <p:nvPr/>
        </p:nvSpPr>
        <p:spPr>
          <a:xfrm>
            <a:off x="1782520" y="5206027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101" name="Прямоугольник 100"/>
          <p:cNvSpPr/>
          <p:nvPr/>
        </p:nvSpPr>
        <p:spPr>
          <a:xfrm>
            <a:off x="2246501" y="5341120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102" name="Прямоугольник 101"/>
          <p:cNvSpPr/>
          <p:nvPr/>
        </p:nvSpPr>
        <p:spPr>
          <a:xfrm>
            <a:off x="2109241" y="5806852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103" name="Прямоугольник 102"/>
          <p:cNvSpPr/>
          <p:nvPr/>
        </p:nvSpPr>
        <p:spPr>
          <a:xfrm>
            <a:off x="1801369" y="6005269"/>
            <a:ext cx="709301" cy="1690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дача</a:t>
            </a:r>
            <a:endParaRPr lang="ru-RU" b="1" dirty="0"/>
          </a:p>
        </p:txBody>
      </p:sp>
      <p:sp>
        <p:nvSpPr>
          <p:cNvPr id="2" name="Левая фигурная скобка 1"/>
          <p:cNvSpPr/>
          <p:nvPr/>
        </p:nvSpPr>
        <p:spPr>
          <a:xfrm>
            <a:off x="3892468" y="3878371"/>
            <a:ext cx="253497" cy="1354351"/>
          </a:xfrm>
          <a:prstGeom prst="leftBrac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01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8680327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Этап №2</a:t>
            </a:r>
            <a:r>
              <a:rPr lang="bg-BG" dirty="0"/>
              <a:t>. </a:t>
            </a:r>
            <a:r>
              <a:rPr lang="bg-BG" dirty="0" smtClean="0"/>
              <a:t>Адаптивное управление </a:t>
            </a:r>
            <a:r>
              <a:rPr lang="bg-BG" dirty="0"/>
              <a:t>через трудоемкость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ee4pHeader1"/>
          <p:cNvSpPr txBox="1"/>
          <p:nvPr/>
        </p:nvSpPr>
        <p:spPr>
          <a:xfrm>
            <a:off x="360046" y="1532657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Что необходимо предпринять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29" name="ee4pHeader1"/>
          <p:cNvSpPr txBox="1"/>
          <p:nvPr/>
        </p:nvSpPr>
        <p:spPr>
          <a:xfrm>
            <a:off x="360046" y="527181"/>
            <a:ext cx="11285086" cy="802019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Вводим оценку проектов, этапов, задач по трудоемкости, по ролям. Оценка выводится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а основе 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оценок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ескольких специалистов одной роли, 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в дальнейшем составляющих пул ресурсов для этой задачи. Далее распределяем задачи на свободного специалиста (более дешевый, более быстрый, более опытный, для развития и обучения) списываем время на открытые задачи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- 40 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часов в неделю, руководители по вертикале управления вверх принимают списанное время, фиксируя и принимая результат.</a:t>
            </a:r>
            <a:endParaRPr lang="az-Cyrl-AZ" sz="12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0" name="ee4pContent2"/>
          <p:cNvSpPr txBox="1"/>
          <p:nvPr/>
        </p:nvSpPr>
        <p:spPr>
          <a:xfrm>
            <a:off x="231057" y="1865247"/>
            <a:ext cx="5150567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вест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равило списывать все 40 часов в неделю на задачи, самообучение и простой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вест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3 показателя эффективности для всех уровней: общая эффективность, проектная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эффективнос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востребованность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Уйти от внутренних монополий, колодцев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есурсов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1" name="ee4pHeader1"/>
          <p:cNvSpPr txBox="1"/>
          <p:nvPr/>
        </p:nvSpPr>
        <p:spPr>
          <a:xfrm>
            <a:off x="358695" y="3415982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Что это дает команде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2" name="ee4pContent2"/>
          <p:cNvSpPr txBox="1"/>
          <p:nvPr/>
        </p:nvSpPr>
        <p:spPr>
          <a:xfrm>
            <a:off x="243720" y="3682457"/>
            <a:ext cx="5150566" cy="1705791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Честна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розрачная оплата труда.  Возможность заработать хороший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бонус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endParaRPr lang="ru-RU" dirty="0" smtClean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u="sng" dirty="0" smtClean="0">
                <a:solidFill>
                  <a:srgbClr val="001D4D"/>
                </a:solidFill>
                <a:latin typeface="Arial" panose="020B0604020202020204" pitchFamily="34" charset="0"/>
              </a:rPr>
              <a:t>Общая </a:t>
            </a:r>
            <a:r>
              <a:rPr lang="ru-RU" u="sng" dirty="0">
                <a:solidFill>
                  <a:srgbClr val="001D4D"/>
                </a:solidFill>
                <a:latin typeface="Arial" panose="020B0604020202020204" pitchFamily="34" charset="0"/>
              </a:rPr>
              <a:t>эффективность</a:t>
            </a:r>
            <a:r>
              <a:rPr lang="ru-RU" dirty="0">
                <a:solidFill>
                  <a:srgbClr val="001D4D"/>
                </a:solidFill>
                <a:latin typeface="Arial" panose="020B0604020202020204" pitchFamily="34" charset="0"/>
              </a:rPr>
              <a:t> – отношение трудоемкости принятых обязательств к понесенным затратам на их выполнение. 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u="sng" dirty="0">
                <a:solidFill>
                  <a:srgbClr val="001D4D"/>
                </a:solidFill>
                <a:latin typeface="Arial" panose="020B0604020202020204" pitchFamily="34" charset="0"/>
              </a:rPr>
              <a:t>Коммерческая (проектная) эффективность</a:t>
            </a:r>
            <a:r>
              <a:rPr lang="ru-RU" dirty="0">
                <a:solidFill>
                  <a:srgbClr val="001D4D"/>
                </a:solidFill>
                <a:latin typeface="Arial" panose="020B0604020202020204" pitchFamily="34" charset="0"/>
              </a:rPr>
              <a:t> - отношение сданных проектных трудочасов к календарным за период</a:t>
            </a:r>
            <a:r>
              <a:rPr lang="ru-RU" dirty="0" smtClean="0">
                <a:solidFill>
                  <a:srgbClr val="001D4D"/>
                </a:solidFill>
                <a:latin typeface="Arial" panose="020B0604020202020204" pitchFamily="34" charset="0"/>
              </a:rPr>
              <a:t>.</a:t>
            </a:r>
            <a:endParaRPr lang="ru-RU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u="sng" dirty="0">
                <a:solidFill>
                  <a:srgbClr val="001D4D"/>
                </a:solidFill>
                <a:latin typeface="Arial" panose="020B0604020202020204" pitchFamily="34" charset="0"/>
              </a:rPr>
              <a:t>Востребованность</a:t>
            </a:r>
            <a:r>
              <a:rPr lang="ru-RU" dirty="0">
                <a:solidFill>
                  <a:srgbClr val="001D4D"/>
                </a:solidFill>
                <a:latin typeface="Arial" panose="020B0604020202020204" pitchFamily="34" charset="0"/>
              </a:rPr>
              <a:t> – будущая принятая трудоемкость относительно календарной трудоемкости.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endParaRPr lang="ru-RU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5" name="ee4pHeader1"/>
          <p:cNvSpPr txBox="1"/>
          <p:nvPr/>
        </p:nvSpPr>
        <p:spPr>
          <a:xfrm>
            <a:off x="5830962" y="1524932"/>
            <a:ext cx="4345416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ую информацию дает руководителю</a:t>
            </a:r>
          </a:p>
        </p:txBody>
      </p:sp>
      <p:sp>
        <p:nvSpPr>
          <p:cNvPr id="36" name="ee4pContent2"/>
          <p:cNvSpPr txBox="1"/>
          <p:nvPr/>
        </p:nvSpPr>
        <p:spPr>
          <a:xfrm>
            <a:off x="5727088" y="1839412"/>
            <a:ext cx="5918044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то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эффективен, востребован, а кто нет. Сравнение с другими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аналогичными специалистами. 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ка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грузка отвлекает команду от главных целей (совещания, административная нагрузка и т.д.)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ков резерв ресурсов, какая нагрузка планируется,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где взять дополнительных специалистов и куда де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стаивающих.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7" name="ee4pHeader1"/>
          <p:cNvSpPr txBox="1"/>
          <p:nvPr/>
        </p:nvSpPr>
        <p:spPr>
          <a:xfrm>
            <a:off x="6009601" y="3415982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 управлять</a:t>
            </a:r>
          </a:p>
        </p:txBody>
      </p:sp>
      <p:sp>
        <p:nvSpPr>
          <p:cNvPr id="38" name="ee4pContent2"/>
          <p:cNvSpPr txBox="1"/>
          <p:nvPr/>
        </p:nvSpPr>
        <p:spPr>
          <a:xfrm>
            <a:off x="5825563" y="3714913"/>
            <a:ext cx="5899711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ерестраивать план с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учетом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акопленной статистики о выполнении на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основе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больших данных 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Изменя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риоритеты проектов, чтобы получить высокую проектную эффективность.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«Вот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кончились длительные совещания и социальные сети на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аботе»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ерераспределять ресурсы между проектами, подразделениями (запрос, договоренности, пока еще долго)</a:t>
            </a:r>
          </a:p>
        </p:txBody>
      </p:sp>
      <p:sp>
        <p:nvSpPr>
          <p:cNvPr id="39" name="ee4pHeader1"/>
          <p:cNvSpPr txBox="1"/>
          <p:nvPr/>
        </p:nvSpPr>
        <p:spPr>
          <a:xfrm>
            <a:off x="3360540" y="5630733"/>
            <a:ext cx="4340336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ая следующая потребность откроется</a:t>
            </a:r>
          </a:p>
        </p:txBody>
      </p:sp>
      <p:sp>
        <p:nvSpPr>
          <p:cNvPr id="40" name="ee4pContent2"/>
          <p:cNvSpPr txBox="1"/>
          <p:nvPr/>
        </p:nvSpPr>
        <p:spPr>
          <a:xfrm>
            <a:off x="367058" y="5938632"/>
            <a:ext cx="11285086" cy="90457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еобходимос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расширения границ рынка ресурсов для более эффективного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использования (без простоев). 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Цена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должна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быть получена в результате внутренней «рыночной» конкуренции (предприятия внутри предприятий)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к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организова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дготовку новых ценных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кадров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 направлениям, где конкуренция минимальная, а прибыль высока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Как делегирова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оманде ответственнос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за сроки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5530708" y="1412737"/>
            <a:ext cx="0" cy="411401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440188" y="3267645"/>
            <a:ext cx="1128508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358695" y="5520035"/>
            <a:ext cx="11285086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360046" y="1412737"/>
            <a:ext cx="1128508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Стрелка вправо 50"/>
          <p:cNvSpPr/>
          <p:nvPr/>
        </p:nvSpPr>
        <p:spPr>
          <a:xfrm rot="5400000">
            <a:off x="2790967" y="3075727"/>
            <a:ext cx="488338" cy="62878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право 53"/>
          <p:cNvSpPr/>
          <p:nvPr/>
        </p:nvSpPr>
        <p:spPr>
          <a:xfrm rot="5400000">
            <a:off x="8182475" y="3050048"/>
            <a:ext cx="488338" cy="628781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право 54"/>
          <p:cNvSpPr/>
          <p:nvPr/>
        </p:nvSpPr>
        <p:spPr>
          <a:xfrm rot="5400000">
            <a:off x="5255631" y="5052709"/>
            <a:ext cx="488338" cy="628781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" name="Прямая со стрелкой 2"/>
          <p:cNvCxnSpPr/>
          <p:nvPr/>
        </p:nvCxnSpPr>
        <p:spPr>
          <a:xfrm flipV="1">
            <a:off x="4946904" y="3075138"/>
            <a:ext cx="867287" cy="1504739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1737360" y="4217220"/>
            <a:ext cx="259689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4615132" y="2539488"/>
            <a:ext cx="345299" cy="1661091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58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8680327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Что будет передано системе управления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915275" y="1634863"/>
            <a:ext cx="4054475" cy="632693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6174581" y="666476"/>
            <a:ext cx="1285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ект 1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53862" y="518536"/>
            <a:ext cx="4078018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u="sng" dirty="0" smtClean="0"/>
              <a:t>Руководитель должен</a:t>
            </a:r>
            <a:endParaRPr lang="ru-RU" sz="1400" u="sng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Помнить какие задачи закрыты, какие сейчас исполняются, какие задачи откроются при закрытии любой </a:t>
            </a:r>
            <a:r>
              <a:rPr lang="ru-RU" sz="1400" dirty="0" smtClean="0"/>
              <a:t>текущей</a:t>
            </a:r>
            <a:endParaRPr lang="en-US" sz="140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Какие задачи из открытых покрыты ресурсом, а какие </a:t>
            </a:r>
            <a:r>
              <a:rPr lang="ru-RU" sz="1400" dirty="0" smtClean="0"/>
              <a:t>нет</a:t>
            </a:r>
            <a:endParaRPr lang="en-US" sz="140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При распределении ресурса определять важность задач проекта и покрывать в первую очередь наиболее важные задачи (лежащие на критическом пути и несущие большие риски, соответственно при любом изменении вычислять свой критический путь</a:t>
            </a:r>
            <a:r>
              <a:rPr lang="ru-RU" sz="1400" dirty="0" smtClean="0"/>
              <a:t>)</a:t>
            </a:r>
            <a:endParaRPr lang="en-US" sz="140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Кто куда на какую задачу назначен, сколько он времени уже занимается </a:t>
            </a:r>
            <a:r>
              <a:rPr lang="ru-RU" sz="1400" dirty="0" smtClean="0"/>
              <a:t>этой </a:t>
            </a:r>
            <a:r>
              <a:rPr lang="ru-RU" sz="1400" dirty="0"/>
              <a:t>задачей, а не долго ли? какие задачи еще находятся в работе у ресурса, нагружен или не нагружен ресурс, на какое время вперед и какая нагрузка у него </a:t>
            </a:r>
            <a:endParaRPr lang="en-US" sz="140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При планировании задач точно помнить и прописывать все </a:t>
            </a:r>
            <a:r>
              <a:rPr lang="ru-RU" sz="1400" dirty="0" smtClean="0"/>
              <a:t>входы, сверяя с шаблонами</a:t>
            </a:r>
            <a:endParaRPr lang="en-US" sz="1400" dirty="0" smtClean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Помнить где сейчас мы находимся и точно знать сколько </a:t>
            </a:r>
            <a:r>
              <a:rPr lang="ru-RU" sz="1400" dirty="0" smtClean="0"/>
              <a:t>есть времени, </a:t>
            </a:r>
            <a:r>
              <a:rPr lang="ru-RU" sz="1400" dirty="0"/>
              <a:t>какие контрольные события и когда будут.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4571565" y="737632"/>
            <a:ext cx="2713671" cy="1720241"/>
          </a:xfrm>
          <a:custGeom>
            <a:avLst/>
            <a:gdLst>
              <a:gd name="connsiteX0" fmla="*/ 96021 w 2713671"/>
              <a:gd name="connsiteY0" fmla="*/ 647179 h 1720241"/>
              <a:gd name="connsiteX1" fmla="*/ 310333 w 2713671"/>
              <a:gd name="connsiteY1" fmla="*/ 499542 h 1720241"/>
              <a:gd name="connsiteX2" fmla="*/ 448446 w 2713671"/>
              <a:gd name="connsiteY2" fmla="*/ 323329 h 1720241"/>
              <a:gd name="connsiteX3" fmla="*/ 619896 w 2713671"/>
              <a:gd name="connsiteY3" fmla="*/ 218554 h 1720241"/>
              <a:gd name="connsiteX4" fmla="*/ 805633 w 2713671"/>
              <a:gd name="connsiteY4" fmla="*/ 94729 h 1720241"/>
              <a:gd name="connsiteX5" fmla="*/ 943746 w 2713671"/>
              <a:gd name="connsiteY5" fmla="*/ 28054 h 1720241"/>
              <a:gd name="connsiteX6" fmla="*/ 1134246 w 2713671"/>
              <a:gd name="connsiteY6" fmla="*/ 28054 h 1720241"/>
              <a:gd name="connsiteX7" fmla="*/ 1805758 w 2713671"/>
              <a:gd name="connsiteY7" fmla="*/ 370954 h 1720241"/>
              <a:gd name="connsiteX8" fmla="*/ 1958158 w 2713671"/>
              <a:gd name="connsiteY8" fmla="*/ 504304 h 1720241"/>
              <a:gd name="connsiteX9" fmla="*/ 2239146 w 2713671"/>
              <a:gd name="connsiteY9" fmla="*/ 599554 h 1720241"/>
              <a:gd name="connsiteX10" fmla="*/ 2548708 w 2713671"/>
              <a:gd name="connsiteY10" fmla="*/ 661467 h 1720241"/>
              <a:gd name="connsiteX11" fmla="*/ 2677296 w 2713671"/>
              <a:gd name="connsiteY11" fmla="*/ 718617 h 1720241"/>
              <a:gd name="connsiteX12" fmla="*/ 2677296 w 2713671"/>
              <a:gd name="connsiteY12" fmla="*/ 875779 h 1720241"/>
              <a:gd name="connsiteX13" fmla="*/ 2258196 w 2713671"/>
              <a:gd name="connsiteY13" fmla="*/ 956742 h 1720241"/>
              <a:gd name="connsiteX14" fmla="*/ 2072458 w 2713671"/>
              <a:gd name="connsiteY14" fmla="*/ 1175817 h 1720241"/>
              <a:gd name="connsiteX15" fmla="*/ 1867671 w 2713671"/>
              <a:gd name="connsiteY15" fmla="*/ 1361554 h 1720241"/>
              <a:gd name="connsiteX16" fmla="*/ 1591446 w 2713671"/>
              <a:gd name="connsiteY16" fmla="*/ 1523479 h 1720241"/>
              <a:gd name="connsiteX17" fmla="*/ 1300933 w 2713671"/>
              <a:gd name="connsiteY17" fmla="*/ 1699692 h 1720241"/>
              <a:gd name="connsiteX18" fmla="*/ 967558 w 2713671"/>
              <a:gd name="connsiteY18" fmla="*/ 1704454 h 1720241"/>
              <a:gd name="connsiteX19" fmla="*/ 696096 w 2713671"/>
              <a:gd name="connsiteY19" fmla="*/ 1590154 h 1720241"/>
              <a:gd name="connsiteX20" fmla="*/ 481783 w 2713671"/>
              <a:gd name="connsiteY20" fmla="*/ 1413942 h 1720241"/>
              <a:gd name="connsiteX21" fmla="*/ 210321 w 2713671"/>
              <a:gd name="connsiteY21" fmla="*/ 1109142 h 1720241"/>
              <a:gd name="connsiteX22" fmla="*/ 48396 w 2713671"/>
              <a:gd name="connsiteY22" fmla="*/ 866254 h 1720241"/>
              <a:gd name="connsiteX23" fmla="*/ 771 w 2713671"/>
              <a:gd name="connsiteY23" fmla="*/ 699567 h 1720241"/>
              <a:gd name="connsiteX24" fmla="*/ 96021 w 2713671"/>
              <a:gd name="connsiteY24" fmla="*/ 647179 h 1720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713671" h="1720241">
                <a:moveTo>
                  <a:pt x="96021" y="647179"/>
                </a:moveTo>
                <a:cubicBezTo>
                  <a:pt x="147615" y="613841"/>
                  <a:pt x="251596" y="553517"/>
                  <a:pt x="310333" y="499542"/>
                </a:cubicBezTo>
                <a:cubicBezTo>
                  <a:pt x="369071" y="445567"/>
                  <a:pt x="396852" y="370160"/>
                  <a:pt x="448446" y="323329"/>
                </a:cubicBezTo>
                <a:cubicBezTo>
                  <a:pt x="500040" y="276498"/>
                  <a:pt x="560365" y="256654"/>
                  <a:pt x="619896" y="218554"/>
                </a:cubicBezTo>
                <a:cubicBezTo>
                  <a:pt x="679427" y="180454"/>
                  <a:pt x="751658" y="126479"/>
                  <a:pt x="805633" y="94729"/>
                </a:cubicBezTo>
                <a:cubicBezTo>
                  <a:pt x="859608" y="62979"/>
                  <a:pt x="888977" y="39166"/>
                  <a:pt x="943746" y="28054"/>
                </a:cubicBezTo>
                <a:cubicBezTo>
                  <a:pt x="998515" y="16942"/>
                  <a:pt x="990577" y="-29096"/>
                  <a:pt x="1134246" y="28054"/>
                </a:cubicBezTo>
                <a:cubicBezTo>
                  <a:pt x="1277915" y="85204"/>
                  <a:pt x="1668439" y="291579"/>
                  <a:pt x="1805758" y="370954"/>
                </a:cubicBezTo>
                <a:cubicBezTo>
                  <a:pt x="1943077" y="450329"/>
                  <a:pt x="1885927" y="466204"/>
                  <a:pt x="1958158" y="504304"/>
                </a:cubicBezTo>
                <a:cubicBezTo>
                  <a:pt x="2030389" y="542404"/>
                  <a:pt x="2140721" y="573360"/>
                  <a:pt x="2239146" y="599554"/>
                </a:cubicBezTo>
                <a:cubicBezTo>
                  <a:pt x="2337571" y="625748"/>
                  <a:pt x="2475683" y="641623"/>
                  <a:pt x="2548708" y="661467"/>
                </a:cubicBezTo>
                <a:cubicBezTo>
                  <a:pt x="2621733" y="681311"/>
                  <a:pt x="2655865" y="682898"/>
                  <a:pt x="2677296" y="718617"/>
                </a:cubicBezTo>
                <a:cubicBezTo>
                  <a:pt x="2698727" y="754336"/>
                  <a:pt x="2747146" y="836092"/>
                  <a:pt x="2677296" y="875779"/>
                </a:cubicBezTo>
                <a:cubicBezTo>
                  <a:pt x="2607446" y="915466"/>
                  <a:pt x="2359002" y="906736"/>
                  <a:pt x="2258196" y="956742"/>
                </a:cubicBezTo>
                <a:cubicBezTo>
                  <a:pt x="2157390" y="1006748"/>
                  <a:pt x="2137545" y="1108348"/>
                  <a:pt x="2072458" y="1175817"/>
                </a:cubicBezTo>
                <a:cubicBezTo>
                  <a:pt x="2007371" y="1243286"/>
                  <a:pt x="1947840" y="1303610"/>
                  <a:pt x="1867671" y="1361554"/>
                </a:cubicBezTo>
                <a:cubicBezTo>
                  <a:pt x="1787502" y="1419498"/>
                  <a:pt x="1591446" y="1523479"/>
                  <a:pt x="1591446" y="1523479"/>
                </a:cubicBezTo>
                <a:cubicBezTo>
                  <a:pt x="1496990" y="1579835"/>
                  <a:pt x="1404914" y="1669530"/>
                  <a:pt x="1300933" y="1699692"/>
                </a:cubicBezTo>
                <a:cubicBezTo>
                  <a:pt x="1196952" y="1729855"/>
                  <a:pt x="1068364" y="1722710"/>
                  <a:pt x="967558" y="1704454"/>
                </a:cubicBezTo>
                <a:cubicBezTo>
                  <a:pt x="866752" y="1686198"/>
                  <a:pt x="777058" y="1638573"/>
                  <a:pt x="696096" y="1590154"/>
                </a:cubicBezTo>
                <a:cubicBezTo>
                  <a:pt x="615134" y="1541735"/>
                  <a:pt x="562746" y="1494111"/>
                  <a:pt x="481783" y="1413942"/>
                </a:cubicBezTo>
                <a:cubicBezTo>
                  <a:pt x="400820" y="1333773"/>
                  <a:pt x="282552" y="1200423"/>
                  <a:pt x="210321" y="1109142"/>
                </a:cubicBezTo>
                <a:cubicBezTo>
                  <a:pt x="138090" y="1017861"/>
                  <a:pt x="83321" y="934517"/>
                  <a:pt x="48396" y="866254"/>
                </a:cubicBezTo>
                <a:cubicBezTo>
                  <a:pt x="13471" y="797991"/>
                  <a:pt x="-3992" y="734492"/>
                  <a:pt x="771" y="699567"/>
                </a:cubicBezTo>
                <a:cubicBezTo>
                  <a:pt x="5533" y="664642"/>
                  <a:pt x="44427" y="680517"/>
                  <a:pt x="96021" y="647179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631867" y="140444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4910469" y="1192511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4912853" y="140444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4767598" y="161280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012867" y="1667978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5191462" y="2064457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4993815" y="1879909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5408156" y="2204951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5686763" y="2275198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5929651" y="2204951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6141582" y="200771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6355895" y="1846572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6555920" y="1683049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6636882" y="148302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141453" y="1051219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5372437" y="910725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5605800" y="824013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5834401" y="956772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6063002" y="1097266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6272553" y="1200054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505914" y="1298481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6917868" y="143897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5420654" y="121633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5202177" y="131039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5406365" y="1434613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5736770" y="1203228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5574845" y="1027019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5947513" y="1306032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5645095" y="1376279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5191461" y="152748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5268856" y="1714216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5411730" y="1923963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5496263" y="168524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5724860" y="1580471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731412" y="1809662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5686169" y="2020403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5972510" y="153980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5972510" y="1714216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5947513" y="192396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6185626" y="143203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6198728" y="1685244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6396358" y="149850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5624253" y="618337"/>
            <a:ext cx="42862" cy="212587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5138961" y="2720115"/>
            <a:ext cx="11335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Линия выполнения</a:t>
            </a:r>
            <a:endParaRPr lang="ru-RU" sz="800" dirty="0"/>
          </a:p>
        </p:txBody>
      </p:sp>
      <p:sp>
        <p:nvSpPr>
          <p:cNvPr id="56" name="Стрелка вправо 55"/>
          <p:cNvSpPr/>
          <p:nvPr/>
        </p:nvSpPr>
        <p:spPr>
          <a:xfrm>
            <a:off x="7835296" y="1130085"/>
            <a:ext cx="4299554" cy="309573"/>
          </a:xfrm>
          <a:prstGeom prst="rightArrow">
            <a:avLst/>
          </a:prstGeom>
          <a:solidFill>
            <a:schemeClr val="accent3">
              <a:alpha val="23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7878991" y="750529"/>
            <a:ext cx="28273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Исполнитель и проектная загрузка</a:t>
            </a:r>
            <a:endParaRPr lang="ru-RU" sz="1400" dirty="0"/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915275" y="1603412"/>
            <a:ext cx="4010025" cy="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7915275" y="2290396"/>
            <a:ext cx="4010025" cy="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 rot="16200000">
            <a:off x="7328524" y="1712274"/>
            <a:ext cx="9029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Проект 1</a:t>
            </a:r>
            <a:endParaRPr lang="ru-RU" sz="1200" dirty="0"/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7915275" y="3037827"/>
            <a:ext cx="4010025" cy="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 rot="16200000">
            <a:off x="7328524" y="2459705"/>
            <a:ext cx="9029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Проект 2 </a:t>
            </a:r>
            <a:endParaRPr lang="ru-RU" sz="1200" dirty="0"/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7915275" y="3785258"/>
            <a:ext cx="4010025" cy="0"/>
          </a:xfrm>
          <a:prstGeom prst="line">
            <a:avLst/>
          </a:prstGeom>
          <a:ln w="1270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 rot="16200000">
            <a:off x="7328524" y="3207136"/>
            <a:ext cx="9029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Проект 3</a:t>
            </a:r>
            <a:endParaRPr lang="ru-RU" sz="1200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8001000" y="1794352"/>
            <a:ext cx="420654" cy="255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Задача</a:t>
            </a:r>
            <a:endParaRPr lang="ru-RU" sz="600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9627279" y="1794352"/>
            <a:ext cx="627971" cy="255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8448382" y="1794352"/>
            <a:ext cx="1127418" cy="2552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простой</a:t>
            </a:r>
            <a:endParaRPr lang="ru-RU" sz="600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8001000" y="2510250"/>
            <a:ext cx="558800" cy="255200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Ожидание</a:t>
            </a:r>
          </a:p>
          <a:p>
            <a:pPr algn="ctr"/>
            <a:r>
              <a:rPr lang="ru-RU" sz="600" dirty="0" smtClean="0"/>
              <a:t>ресурса</a:t>
            </a:r>
            <a:endParaRPr lang="ru-RU" sz="600" dirty="0"/>
          </a:p>
        </p:txBody>
      </p:sp>
      <p:sp>
        <p:nvSpPr>
          <p:cNvPr id="69" name="Прямоугольник 68"/>
          <p:cNvSpPr/>
          <p:nvPr/>
        </p:nvSpPr>
        <p:spPr>
          <a:xfrm>
            <a:off x="8601272" y="2510250"/>
            <a:ext cx="420654" cy="2552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Задача</a:t>
            </a:r>
            <a:endParaRPr lang="ru-RU" sz="600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9082353" y="2510250"/>
            <a:ext cx="420654" cy="2552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Задача</a:t>
            </a:r>
            <a:endParaRPr lang="ru-RU" sz="600" dirty="0"/>
          </a:p>
        </p:txBody>
      </p:sp>
      <p:cxnSp>
        <p:nvCxnSpPr>
          <p:cNvPr id="71" name="Прямая со стрелкой 70"/>
          <p:cNvCxnSpPr>
            <a:stCxn id="65" idx="3"/>
            <a:endCxn id="69" idx="0"/>
          </p:cNvCxnSpPr>
          <p:nvPr/>
        </p:nvCxnSpPr>
        <p:spPr>
          <a:xfrm>
            <a:off x="8421654" y="1921952"/>
            <a:ext cx="389945" cy="5882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stCxn id="70" idx="0"/>
            <a:endCxn id="66" idx="1"/>
          </p:cNvCxnSpPr>
          <p:nvPr/>
        </p:nvCxnSpPr>
        <p:spPr>
          <a:xfrm flipV="1">
            <a:off x="9292680" y="1921952"/>
            <a:ext cx="334599" cy="5882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10306729" y="1794352"/>
            <a:ext cx="1127418" cy="25520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простой</a:t>
            </a:r>
            <a:endParaRPr lang="ru-RU" sz="600" dirty="0"/>
          </a:p>
        </p:txBody>
      </p:sp>
      <p:sp>
        <p:nvSpPr>
          <p:cNvPr id="74" name="Прямоугольник 73"/>
          <p:cNvSpPr/>
          <p:nvPr/>
        </p:nvSpPr>
        <p:spPr>
          <a:xfrm>
            <a:off x="10348499" y="2510250"/>
            <a:ext cx="420654" cy="2552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Задача</a:t>
            </a:r>
            <a:endParaRPr lang="ru-RU" sz="600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9558206" y="2510250"/>
            <a:ext cx="720354" cy="255200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Ожидание</a:t>
            </a:r>
          </a:p>
          <a:p>
            <a:pPr algn="ctr"/>
            <a:r>
              <a:rPr lang="ru-RU" sz="600" dirty="0" smtClean="0"/>
              <a:t>ресурса</a:t>
            </a:r>
            <a:endParaRPr lang="ru-RU" sz="60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10870438" y="3258808"/>
            <a:ext cx="420654" cy="25520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Задача</a:t>
            </a:r>
            <a:endParaRPr lang="ru-RU" sz="600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8000999" y="3258610"/>
            <a:ext cx="2768153" cy="255200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Ожидание</a:t>
            </a:r>
          </a:p>
          <a:p>
            <a:pPr algn="ctr"/>
            <a:r>
              <a:rPr lang="ru-RU" sz="600" dirty="0" smtClean="0"/>
              <a:t>ресурса</a:t>
            </a:r>
            <a:endParaRPr lang="ru-RU" sz="600" dirty="0"/>
          </a:p>
        </p:txBody>
      </p:sp>
      <p:cxnSp>
        <p:nvCxnSpPr>
          <p:cNvPr id="78" name="Прямая со стрелкой 77"/>
          <p:cNvCxnSpPr>
            <a:stCxn id="66" idx="3"/>
            <a:endCxn id="74" idx="0"/>
          </p:cNvCxnSpPr>
          <p:nvPr/>
        </p:nvCxnSpPr>
        <p:spPr>
          <a:xfrm>
            <a:off x="10255250" y="1921952"/>
            <a:ext cx="303576" cy="5882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 стрелкой 78"/>
          <p:cNvCxnSpPr>
            <a:stCxn id="74" idx="3"/>
            <a:endCxn id="76" idx="0"/>
          </p:cNvCxnSpPr>
          <p:nvPr/>
        </p:nvCxnSpPr>
        <p:spPr>
          <a:xfrm>
            <a:off x="10769153" y="2637850"/>
            <a:ext cx="311612" cy="6209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11485627" y="1787873"/>
            <a:ext cx="439674" cy="255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</a:t>
            </a:r>
          </a:p>
        </p:txBody>
      </p:sp>
      <p:cxnSp>
        <p:nvCxnSpPr>
          <p:cNvPr id="81" name="Прямая со стрелкой 80"/>
          <p:cNvCxnSpPr>
            <a:endCxn id="80" idx="2"/>
          </p:cNvCxnSpPr>
          <p:nvPr/>
        </p:nvCxnSpPr>
        <p:spPr>
          <a:xfrm flipV="1">
            <a:off x="11189806" y="2043073"/>
            <a:ext cx="515658" cy="12026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8001000" y="1236829"/>
            <a:ext cx="420654" cy="10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Задача</a:t>
            </a:r>
            <a:endParaRPr lang="ru-RU" sz="600" dirty="0"/>
          </a:p>
        </p:txBody>
      </p:sp>
      <p:sp>
        <p:nvSpPr>
          <p:cNvPr id="83" name="Прямоугольник 82"/>
          <p:cNvSpPr/>
          <p:nvPr/>
        </p:nvSpPr>
        <p:spPr>
          <a:xfrm>
            <a:off x="8601272" y="1243172"/>
            <a:ext cx="420654" cy="10076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ча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082353" y="1243172"/>
            <a:ext cx="420654" cy="10076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ча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639655" y="1243901"/>
            <a:ext cx="627971" cy="10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10348499" y="1243172"/>
            <a:ext cx="420654" cy="10076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ча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10870438" y="1246582"/>
            <a:ext cx="420654" cy="10076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ча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11485627" y="1251704"/>
            <a:ext cx="439674" cy="10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/>
              <a:t>Зада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11349869" y="3258610"/>
            <a:ext cx="575432" cy="255200"/>
          </a:xfrm>
          <a:prstGeom prst="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Ожидание</a:t>
            </a:r>
          </a:p>
          <a:p>
            <a:pPr algn="ctr"/>
            <a:r>
              <a:rPr lang="ru-RU" sz="600" dirty="0" smtClean="0"/>
              <a:t>ресурса</a:t>
            </a:r>
            <a:endParaRPr lang="ru-RU" sz="600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10826269" y="2516794"/>
            <a:ext cx="1099031" cy="255200"/>
          </a:xfrm>
          <a:prstGeom prst="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r>
              <a:rPr lang="ru-RU" sz="600" dirty="0" smtClean="0"/>
              <a:t>простой</a:t>
            </a:r>
            <a:endParaRPr lang="ru-RU" sz="600" dirty="0"/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>
            <a:off x="7915275" y="1207066"/>
            <a:ext cx="40100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9598061" y="1025222"/>
            <a:ext cx="147829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 smtClean="0"/>
              <a:t>Нагрузка и свободные интервалы</a:t>
            </a:r>
            <a:endParaRPr lang="ru-RU" sz="700" dirty="0"/>
          </a:p>
        </p:txBody>
      </p:sp>
      <p:cxnSp>
        <p:nvCxnSpPr>
          <p:cNvPr id="93" name="Прямая соединительная линия 92"/>
          <p:cNvCxnSpPr/>
          <p:nvPr/>
        </p:nvCxnSpPr>
        <p:spPr>
          <a:xfrm>
            <a:off x="7915275" y="1376845"/>
            <a:ext cx="40100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олилиния 93"/>
          <p:cNvSpPr/>
          <p:nvPr/>
        </p:nvSpPr>
        <p:spPr>
          <a:xfrm>
            <a:off x="4046089" y="3126832"/>
            <a:ext cx="2713671" cy="1720241"/>
          </a:xfrm>
          <a:custGeom>
            <a:avLst/>
            <a:gdLst>
              <a:gd name="connsiteX0" fmla="*/ 96021 w 2713671"/>
              <a:gd name="connsiteY0" fmla="*/ 647179 h 1720241"/>
              <a:gd name="connsiteX1" fmla="*/ 310333 w 2713671"/>
              <a:gd name="connsiteY1" fmla="*/ 499542 h 1720241"/>
              <a:gd name="connsiteX2" fmla="*/ 448446 w 2713671"/>
              <a:gd name="connsiteY2" fmla="*/ 323329 h 1720241"/>
              <a:gd name="connsiteX3" fmla="*/ 619896 w 2713671"/>
              <a:gd name="connsiteY3" fmla="*/ 218554 h 1720241"/>
              <a:gd name="connsiteX4" fmla="*/ 805633 w 2713671"/>
              <a:gd name="connsiteY4" fmla="*/ 94729 h 1720241"/>
              <a:gd name="connsiteX5" fmla="*/ 943746 w 2713671"/>
              <a:gd name="connsiteY5" fmla="*/ 28054 h 1720241"/>
              <a:gd name="connsiteX6" fmla="*/ 1134246 w 2713671"/>
              <a:gd name="connsiteY6" fmla="*/ 28054 h 1720241"/>
              <a:gd name="connsiteX7" fmla="*/ 1805758 w 2713671"/>
              <a:gd name="connsiteY7" fmla="*/ 370954 h 1720241"/>
              <a:gd name="connsiteX8" fmla="*/ 1958158 w 2713671"/>
              <a:gd name="connsiteY8" fmla="*/ 504304 h 1720241"/>
              <a:gd name="connsiteX9" fmla="*/ 2239146 w 2713671"/>
              <a:gd name="connsiteY9" fmla="*/ 599554 h 1720241"/>
              <a:gd name="connsiteX10" fmla="*/ 2548708 w 2713671"/>
              <a:gd name="connsiteY10" fmla="*/ 661467 h 1720241"/>
              <a:gd name="connsiteX11" fmla="*/ 2677296 w 2713671"/>
              <a:gd name="connsiteY11" fmla="*/ 718617 h 1720241"/>
              <a:gd name="connsiteX12" fmla="*/ 2677296 w 2713671"/>
              <a:gd name="connsiteY12" fmla="*/ 875779 h 1720241"/>
              <a:gd name="connsiteX13" fmla="*/ 2258196 w 2713671"/>
              <a:gd name="connsiteY13" fmla="*/ 956742 h 1720241"/>
              <a:gd name="connsiteX14" fmla="*/ 2072458 w 2713671"/>
              <a:gd name="connsiteY14" fmla="*/ 1175817 h 1720241"/>
              <a:gd name="connsiteX15" fmla="*/ 1867671 w 2713671"/>
              <a:gd name="connsiteY15" fmla="*/ 1361554 h 1720241"/>
              <a:gd name="connsiteX16" fmla="*/ 1591446 w 2713671"/>
              <a:gd name="connsiteY16" fmla="*/ 1523479 h 1720241"/>
              <a:gd name="connsiteX17" fmla="*/ 1300933 w 2713671"/>
              <a:gd name="connsiteY17" fmla="*/ 1699692 h 1720241"/>
              <a:gd name="connsiteX18" fmla="*/ 967558 w 2713671"/>
              <a:gd name="connsiteY18" fmla="*/ 1704454 h 1720241"/>
              <a:gd name="connsiteX19" fmla="*/ 696096 w 2713671"/>
              <a:gd name="connsiteY19" fmla="*/ 1590154 h 1720241"/>
              <a:gd name="connsiteX20" fmla="*/ 481783 w 2713671"/>
              <a:gd name="connsiteY20" fmla="*/ 1413942 h 1720241"/>
              <a:gd name="connsiteX21" fmla="*/ 210321 w 2713671"/>
              <a:gd name="connsiteY21" fmla="*/ 1109142 h 1720241"/>
              <a:gd name="connsiteX22" fmla="*/ 48396 w 2713671"/>
              <a:gd name="connsiteY22" fmla="*/ 866254 h 1720241"/>
              <a:gd name="connsiteX23" fmla="*/ 771 w 2713671"/>
              <a:gd name="connsiteY23" fmla="*/ 699567 h 1720241"/>
              <a:gd name="connsiteX24" fmla="*/ 96021 w 2713671"/>
              <a:gd name="connsiteY24" fmla="*/ 647179 h 1720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713671" h="1720241">
                <a:moveTo>
                  <a:pt x="96021" y="647179"/>
                </a:moveTo>
                <a:cubicBezTo>
                  <a:pt x="147615" y="613841"/>
                  <a:pt x="251596" y="553517"/>
                  <a:pt x="310333" y="499542"/>
                </a:cubicBezTo>
                <a:cubicBezTo>
                  <a:pt x="369071" y="445567"/>
                  <a:pt x="396852" y="370160"/>
                  <a:pt x="448446" y="323329"/>
                </a:cubicBezTo>
                <a:cubicBezTo>
                  <a:pt x="500040" y="276498"/>
                  <a:pt x="560365" y="256654"/>
                  <a:pt x="619896" y="218554"/>
                </a:cubicBezTo>
                <a:cubicBezTo>
                  <a:pt x="679427" y="180454"/>
                  <a:pt x="751658" y="126479"/>
                  <a:pt x="805633" y="94729"/>
                </a:cubicBezTo>
                <a:cubicBezTo>
                  <a:pt x="859608" y="62979"/>
                  <a:pt x="888977" y="39166"/>
                  <a:pt x="943746" y="28054"/>
                </a:cubicBezTo>
                <a:cubicBezTo>
                  <a:pt x="998515" y="16942"/>
                  <a:pt x="990577" y="-29096"/>
                  <a:pt x="1134246" y="28054"/>
                </a:cubicBezTo>
                <a:cubicBezTo>
                  <a:pt x="1277915" y="85204"/>
                  <a:pt x="1668439" y="291579"/>
                  <a:pt x="1805758" y="370954"/>
                </a:cubicBezTo>
                <a:cubicBezTo>
                  <a:pt x="1943077" y="450329"/>
                  <a:pt x="1885927" y="466204"/>
                  <a:pt x="1958158" y="504304"/>
                </a:cubicBezTo>
                <a:cubicBezTo>
                  <a:pt x="2030389" y="542404"/>
                  <a:pt x="2140721" y="573360"/>
                  <a:pt x="2239146" y="599554"/>
                </a:cubicBezTo>
                <a:cubicBezTo>
                  <a:pt x="2337571" y="625748"/>
                  <a:pt x="2475683" y="641623"/>
                  <a:pt x="2548708" y="661467"/>
                </a:cubicBezTo>
                <a:cubicBezTo>
                  <a:pt x="2621733" y="681311"/>
                  <a:pt x="2655865" y="682898"/>
                  <a:pt x="2677296" y="718617"/>
                </a:cubicBezTo>
                <a:cubicBezTo>
                  <a:pt x="2698727" y="754336"/>
                  <a:pt x="2747146" y="836092"/>
                  <a:pt x="2677296" y="875779"/>
                </a:cubicBezTo>
                <a:cubicBezTo>
                  <a:pt x="2607446" y="915466"/>
                  <a:pt x="2359002" y="906736"/>
                  <a:pt x="2258196" y="956742"/>
                </a:cubicBezTo>
                <a:cubicBezTo>
                  <a:pt x="2157390" y="1006748"/>
                  <a:pt x="2137545" y="1108348"/>
                  <a:pt x="2072458" y="1175817"/>
                </a:cubicBezTo>
                <a:cubicBezTo>
                  <a:pt x="2007371" y="1243286"/>
                  <a:pt x="1947840" y="1303610"/>
                  <a:pt x="1867671" y="1361554"/>
                </a:cubicBezTo>
                <a:cubicBezTo>
                  <a:pt x="1787502" y="1419498"/>
                  <a:pt x="1591446" y="1523479"/>
                  <a:pt x="1591446" y="1523479"/>
                </a:cubicBezTo>
                <a:cubicBezTo>
                  <a:pt x="1496990" y="1579835"/>
                  <a:pt x="1404914" y="1669530"/>
                  <a:pt x="1300933" y="1699692"/>
                </a:cubicBezTo>
                <a:cubicBezTo>
                  <a:pt x="1196952" y="1729855"/>
                  <a:pt x="1068364" y="1722710"/>
                  <a:pt x="967558" y="1704454"/>
                </a:cubicBezTo>
                <a:cubicBezTo>
                  <a:pt x="866752" y="1686198"/>
                  <a:pt x="777058" y="1638573"/>
                  <a:pt x="696096" y="1590154"/>
                </a:cubicBezTo>
                <a:cubicBezTo>
                  <a:pt x="615134" y="1541735"/>
                  <a:pt x="562746" y="1494111"/>
                  <a:pt x="481783" y="1413942"/>
                </a:cubicBezTo>
                <a:cubicBezTo>
                  <a:pt x="400820" y="1333773"/>
                  <a:pt x="282552" y="1200423"/>
                  <a:pt x="210321" y="1109142"/>
                </a:cubicBezTo>
                <a:cubicBezTo>
                  <a:pt x="138090" y="1017861"/>
                  <a:pt x="83321" y="934517"/>
                  <a:pt x="48396" y="866254"/>
                </a:cubicBezTo>
                <a:cubicBezTo>
                  <a:pt x="13471" y="797991"/>
                  <a:pt x="-3992" y="734492"/>
                  <a:pt x="771" y="699567"/>
                </a:cubicBezTo>
                <a:cubicBezTo>
                  <a:pt x="5533" y="664642"/>
                  <a:pt x="44427" y="680517"/>
                  <a:pt x="96021" y="647179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5" name="Прямоугольник 94"/>
          <p:cNvSpPr/>
          <p:nvPr/>
        </p:nvSpPr>
        <p:spPr>
          <a:xfrm>
            <a:off x="4106391" y="379364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6" name="Прямоугольник 95"/>
          <p:cNvSpPr/>
          <p:nvPr/>
        </p:nvSpPr>
        <p:spPr>
          <a:xfrm>
            <a:off x="4384993" y="3581711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4387377" y="379364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8" name="Прямоугольник 97"/>
          <p:cNvSpPr/>
          <p:nvPr/>
        </p:nvSpPr>
        <p:spPr>
          <a:xfrm>
            <a:off x="4242122" y="400200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4487391" y="4057178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4665986" y="4453657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1" name="Прямоугольник 100"/>
          <p:cNvSpPr/>
          <p:nvPr/>
        </p:nvSpPr>
        <p:spPr>
          <a:xfrm>
            <a:off x="4468339" y="4269109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2" name="Прямоугольник 101"/>
          <p:cNvSpPr/>
          <p:nvPr/>
        </p:nvSpPr>
        <p:spPr>
          <a:xfrm>
            <a:off x="4882680" y="4594151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3" name="Прямоугольник 102"/>
          <p:cNvSpPr/>
          <p:nvPr/>
        </p:nvSpPr>
        <p:spPr>
          <a:xfrm>
            <a:off x="5161287" y="4664398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4" name="Прямоугольник 103"/>
          <p:cNvSpPr/>
          <p:nvPr/>
        </p:nvSpPr>
        <p:spPr>
          <a:xfrm>
            <a:off x="5404175" y="4594151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5" name="Прямоугольник 104"/>
          <p:cNvSpPr/>
          <p:nvPr/>
        </p:nvSpPr>
        <p:spPr>
          <a:xfrm>
            <a:off x="5616106" y="4396917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6" name="Прямоугольник 105"/>
          <p:cNvSpPr/>
          <p:nvPr/>
        </p:nvSpPr>
        <p:spPr>
          <a:xfrm>
            <a:off x="5830419" y="4235772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7" name="Прямоугольник 106"/>
          <p:cNvSpPr/>
          <p:nvPr/>
        </p:nvSpPr>
        <p:spPr>
          <a:xfrm>
            <a:off x="6030444" y="4072249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8" name="Прямоугольник 107"/>
          <p:cNvSpPr/>
          <p:nvPr/>
        </p:nvSpPr>
        <p:spPr>
          <a:xfrm>
            <a:off x="6111406" y="387222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9" name="Прямоугольник 108"/>
          <p:cNvSpPr/>
          <p:nvPr/>
        </p:nvSpPr>
        <p:spPr>
          <a:xfrm>
            <a:off x="4615977" y="3440419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0" name="Прямоугольник 109"/>
          <p:cNvSpPr/>
          <p:nvPr/>
        </p:nvSpPr>
        <p:spPr>
          <a:xfrm>
            <a:off x="4846961" y="3299925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1" name="Прямоугольник 110"/>
          <p:cNvSpPr/>
          <p:nvPr/>
        </p:nvSpPr>
        <p:spPr>
          <a:xfrm>
            <a:off x="5080324" y="3213213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2" name="Прямоугольник 111"/>
          <p:cNvSpPr/>
          <p:nvPr/>
        </p:nvSpPr>
        <p:spPr>
          <a:xfrm>
            <a:off x="5308925" y="3345972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3" name="Прямоугольник 112"/>
          <p:cNvSpPr/>
          <p:nvPr/>
        </p:nvSpPr>
        <p:spPr>
          <a:xfrm>
            <a:off x="5537526" y="3486466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4" name="Прямоугольник 113"/>
          <p:cNvSpPr/>
          <p:nvPr/>
        </p:nvSpPr>
        <p:spPr>
          <a:xfrm>
            <a:off x="5747077" y="3589254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5" name="Прямоугольник 114"/>
          <p:cNvSpPr/>
          <p:nvPr/>
        </p:nvSpPr>
        <p:spPr>
          <a:xfrm>
            <a:off x="5980438" y="3687681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6" name="Прямоугольник 115"/>
          <p:cNvSpPr/>
          <p:nvPr/>
        </p:nvSpPr>
        <p:spPr>
          <a:xfrm>
            <a:off x="6392392" y="382817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7" name="Прямоугольник 116"/>
          <p:cNvSpPr/>
          <p:nvPr/>
        </p:nvSpPr>
        <p:spPr>
          <a:xfrm>
            <a:off x="4895178" y="360553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8" name="Прямоугольник 117"/>
          <p:cNvSpPr/>
          <p:nvPr/>
        </p:nvSpPr>
        <p:spPr>
          <a:xfrm>
            <a:off x="4676701" y="369959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19" name="Прямоугольник 118"/>
          <p:cNvSpPr/>
          <p:nvPr/>
        </p:nvSpPr>
        <p:spPr>
          <a:xfrm>
            <a:off x="4880889" y="3823813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0" name="Прямоугольник 119"/>
          <p:cNvSpPr/>
          <p:nvPr/>
        </p:nvSpPr>
        <p:spPr>
          <a:xfrm>
            <a:off x="5211294" y="3592428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1" name="Прямоугольник 120"/>
          <p:cNvSpPr/>
          <p:nvPr/>
        </p:nvSpPr>
        <p:spPr>
          <a:xfrm>
            <a:off x="5049369" y="3416219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2" name="Прямоугольник 121"/>
          <p:cNvSpPr/>
          <p:nvPr/>
        </p:nvSpPr>
        <p:spPr>
          <a:xfrm>
            <a:off x="5422037" y="3695232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3" name="Прямоугольник 122"/>
          <p:cNvSpPr/>
          <p:nvPr/>
        </p:nvSpPr>
        <p:spPr>
          <a:xfrm>
            <a:off x="5119619" y="3765479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4" name="Прямоугольник 123"/>
          <p:cNvSpPr/>
          <p:nvPr/>
        </p:nvSpPr>
        <p:spPr>
          <a:xfrm>
            <a:off x="4665985" y="391668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5" name="Прямоугольник 124"/>
          <p:cNvSpPr/>
          <p:nvPr/>
        </p:nvSpPr>
        <p:spPr>
          <a:xfrm>
            <a:off x="4743380" y="4103416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6" name="Прямоугольник 125"/>
          <p:cNvSpPr/>
          <p:nvPr/>
        </p:nvSpPr>
        <p:spPr>
          <a:xfrm>
            <a:off x="4886254" y="4313163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7" name="Прямоугольник 126"/>
          <p:cNvSpPr/>
          <p:nvPr/>
        </p:nvSpPr>
        <p:spPr>
          <a:xfrm>
            <a:off x="4970787" y="4074444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8" name="Прямоугольник 127"/>
          <p:cNvSpPr/>
          <p:nvPr/>
        </p:nvSpPr>
        <p:spPr>
          <a:xfrm>
            <a:off x="5199384" y="3969671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9" name="Прямоугольник 128"/>
          <p:cNvSpPr/>
          <p:nvPr/>
        </p:nvSpPr>
        <p:spPr>
          <a:xfrm>
            <a:off x="5205936" y="4198862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0" name="Прямоугольник 129"/>
          <p:cNvSpPr/>
          <p:nvPr/>
        </p:nvSpPr>
        <p:spPr>
          <a:xfrm>
            <a:off x="5160693" y="4409603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1" name="Прямоугольник 130"/>
          <p:cNvSpPr/>
          <p:nvPr/>
        </p:nvSpPr>
        <p:spPr>
          <a:xfrm>
            <a:off x="5447034" y="3929003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2" name="Прямоугольник 131"/>
          <p:cNvSpPr/>
          <p:nvPr/>
        </p:nvSpPr>
        <p:spPr>
          <a:xfrm>
            <a:off x="5447034" y="4103416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3" name="Прямоугольник 132"/>
          <p:cNvSpPr/>
          <p:nvPr/>
        </p:nvSpPr>
        <p:spPr>
          <a:xfrm>
            <a:off x="5422037" y="4313163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4" name="Прямоугольник 133"/>
          <p:cNvSpPr/>
          <p:nvPr/>
        </p:nvSpPr>
        <p:spPr>
          <a:xfrm>
            <a:off x="5660150" y="3821233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5" name="Прямоугольник 134"/>
          <p:cNvSpPr/>
          <p:nvPr/>
        </p:nvSpPr>
        <p:spPr>
          <a:xfrm>
            <a:off x="5673252" y="4074444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6" name="Прямоугольник 135"/>
          <p:cNvSpPr/>
          <p:nvPr/>
        </p:nvSpPr>
        <p:spPr>
          <a:xfrm>
            <a:off x="5870882" y="3887705"/>
            <a:ext cx="161925" cy="14049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cxnSp>
        <p:nvCxnSpPr>
          <p:cNvPr id="137" name="Прямая соединительная линия 136"/>
          <p:cNvCxnSpPr/>
          <p:nvPr/>
        </p:nvCxnSpPr>
        <p:spPr>
          <a:xfrm>
            <a:off x="5668478" y="3021811"/>
            <a:ext cx="42862" cy="2125872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8" name="Стрелка вправо 137"/>
          <p:cNvSpPr/>
          <p:nvPr/>
        </p:nvSpPr>
        <p:spPr>
          <a:xfrm>
            <a:off x="3977438" y="3605534"/>
            <a:ext cx="2945972" cy="638376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/>
        </p:nvSpPr>
        <p:spPr>
          <a:xfrm>
            <a:off x="7915275" y="2306493"/>
            <a:ext cx="4054475" cy="632693"/>
          </a:xfrm>
          <a:prstGeom prst="rect">
            <a:avLst/>
          </a:prstGeom>
          <a:solidFill>
            <a:schemeClr val="accent6">
              <a:alpha val="1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 139"/>
          <p:cNvSpPr/>
          <p:nvPr/>
        </p:nvSpPr>
        <p:spPr>
          <a:xfrm>
            <a:off x="7915275" y="3088255"/>
            <a:ext cx="4054475" cy="632693"/>
          </a:xfrm>
          <a:prstGeom prst="rect">
            <a:avLst/>
          </a:prstGeom>
          <a:solidFill>
            <a:schemeClr val="accent4">
              <a:alpha val="1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Стрелка вправо 140"/>
          <p:cNvSpPr/>
          <p:nvPr/>
        </p:nvSpPr>
        <p:spPr>
          <a:xfrm>
            <a:off x="4406914" y="1197528"/>
            <a:ext cx="3019125" cy="638376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2" name="TextBox 141"/>
          <p:cNvSpPr txBox="1"/>
          <p:nvPr/>
        </p:nvSpPr>
        <p:spPr>
          <a:xfrm>
            <a:off x="6044427" y="3093537"/>
            <a:ext cx="1285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ект 2</a:t>
            </a:r>
            <a:endParaRPr lang="ru-RU" dirty="0"/>
          </a:p>
        </p:txBody>
      </p:sp>
      <p:sp>
        <p:nvSpPr>
          <p:cNvPr id="143" name="Полилиния 142"/>
          <p:cNvSpPr/>
          <p:nvPr/>
        </p:nvSpPr>
        <p:spPr>
          <a:xfrm>
            <a:off x="5350713" y="4834426"/>
            <a:ext cx="2713671" cy="1720241"/>
          </a:xfrm>
          <a:custGeom>
            <a:avLst/>
            <a:gdLst>
              <a:gd name="connsiteX0" fmla="*/ 96021 w 2713671"/>
              <a:gd name="connsiteY0" fmla="*/ 647179 h 1720241"/>
              <a:gd name="connsiteX1" fmla="*/ 310333 w 2713671"/>
              <a:gd name="connsiteY1" fmla="*/ 499542 h 1720241"/>
              <a:gd name="connsiteX2" fmla="*/ 448446 w 2713671"/>
              <a:gd name="connsiteY2" fmla="*/ 323329 h 1720241"/>
              <a:gd name="connsiteX3" fmla="*/ 619896 w 2713671"/>
              <a:gd name="connsiteY3" fmla="*/ 218554 h 1720241"/>
              <a:gd name="connsiteX4" fmla="*/ 805633 w 2713671"/>
              <a:gd name="connsiteY4" fmla="*/ 94729 h 1720241"/>
              <a:gd name="connsiteX5" fmla="*/ 943746 w 2713671"/>
              <a:gd name="connsiteY5" fmla="*/ 28054 h 1720241"/>
              <a:gd name="connsiteX6" fmla="*/ 1134246 w 2713671"/>
              <a:gd name="connsiteY6" fmla="*/ 28054 h 1720241"/>
              <a:gd name="connsiteX7" fmla="*/ 1805758 w 2713671"/>
              <a:gd name="connsiteY7" fmla="*/ 370954 h 1720241"/>
              <a:gd name="connsiteX8" fmla="*/ 1958158 w 2713671"/>
              <a:gd name="connsiteY8" fmla="*/ 504304 h 1720241"/>
              <a:gd name="connsiteX9" fmla="*/ 2239146 w 2713671"/>
              <a:gd name="connsiteY9" fmla="*/ 599554 h 1720241"/>
              <a:gd name="connsiteX10" fmla="*/ 2548708 w 2713671"/>
              <a:gd name="connsiteY10" fmla="*/ 661467 h 1720241"/>
              <a:gd name="connsiteX11" fmla="*/ 2677296 w 2713671"/>
              <a:gd name="connsiteY11" fmla="*/ 718617 h 1720241"/>
              <a:gd name="connsiteX12" fmla="*/ 2677296 w 2713671"/>
              <a:gd name="connsiteY12" fmla="*/ 875779 h 1720241"/>
              <a:gd name="connsiteX13" fmla="*/ 2258196 w 2713671"/>
              <a:gd name="connsiteY13" fmla="*/ 956742 h 1720241"/>
              <a:gd name="connsiteX14" fmla="*/ 2072458 w 2713671"/>
              <a:gd name="connsiteY14" fmla="*/ 1175817 h 1720241"/>
              <a:gd name="connsiteX15" fmla="*/ 1867671 w 2713671"/>
              <a:gd name="connsiteY15" fmla="*/ 1361554 h 1720241"/>
              <a:gd name="connsiteX16" fmla="*/ 1591446 w 2713671"/>
              <a:gd name="connsiteY16" fmla="*/ 1523479 h 1720241"/>
              <a:gd name="connsiteX17" fmla="*/ 1300933 w 2713671"/>
              <a:gd name="connsiteY17" fmla="*/ 1699692 h 1720241"/>
              <a:gd name="connsiteX18" fmla="*/ 967558 w 2713671"/>
              <a:gd name="connsiteY18" fmla="*/ 1704454 h 1720241"/>
              <a:gd name="connsiteX19" fmla="*/ 696096 w 2713671"/>
              <a:gd name="connsiteY19" fmla="*/ 1590154 h 1720241"/>
              <a:gd name="connsiteX20" fmla="*/ 481783 w 2713671"/>
              <a:gd name="connsiteY20" fmla="*/ 1413942 h 1720241"/>
              <a:gd name="connsiteX21" fmla="*/ 210321 w 2713671"/>
              <a:gd name="connsiteY21" fmla="*/ 1109142 h 1720241"/>
              <a:gd name="connsiteX22" fmla="*/ 48396 w 2713671"/>
              <a:gd name="connsiteY22" fmla="*/ 866254 h 1720241"/>
              <a:gd name="connsiteX23" fmla="*/ 771 w 2713671"/>
              <a:gd name="connsiteY23" fmla="*/ 699567 h 1720241"/>
              <a:gd name="connsiteX24" fmla="*/ 96021 w 2713671"/>
              <a:gd name="connsiteY24" fmla="*/ 647179 h 1720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713671" h="1720241">
                <a:moveTo>
                  <a:pt x="96021" y="647179"/>
                </a:moveTo>
                <a:cubicBezTo>
                  <a:pt x="147615" y="613841"/>
                  <a:pt x="251596" y="553517"/>
                  <a:pt x="310333" y="499542"/>
                </a:cubicBezTo>
                <a:cubicBezTo>
                  <a:pt x="369071" y="445567"/>
                  <a:pt x="396852" y="370160"/>
                  <a:pt x="448446" y="323329"/>
                </a:cubicBezTo>
                <a:cubicBezTo>
                  <a:pt x="500040" y="276498"/>
                  <a:pt x="560365" y="256654"/>
                  <a:pt x="619896" y="218554"/>
                </a:cubicBezTo>
                <a:cubicBezTo>
                  <a:pt x="679427" y="180454"/>
                  <a:pt x="751658" y="126479"/>
                  <a:pt x="805633" y="94729"/>
                </a:cubicBezTo>
                <a:cubicBezTo>
                  <a:pt x="859608" y="62979"/>
                  <a:pt x="888977" y="39166"/>
                  <a:pt x="943746" y="28054"/>
                </a:cubicBezTo>
                <a:cubicBezTo>
                  <a:pt x="998515" y="16942"/>
                  <a:pt x="990577" y="-29096"/>
                  <a:pt x="1134246" y="28054"/>
                </a:cubicBezTo>
                <a:cubicBezTo>
                  <a:pt x="1277915" y="85204"/>
                  <a:pt x="1668439" y="291579"/>
                  <a:pt x="1805758" y="370954"/>
                </a:cubicBezTo>
                <a:cubicBezTo>
                  <a:pt x="1943077" y="450329"/>
                  <a:pt x="1885927" y="466204"/>
                  <a:pt x="1958158" y="504304"/>
                </a:cubicBezTo>
                <a:cubicBezTo>
                  <a:pt x="2030389" y="542404"/>
                  <a:pt x="2140721" y="573360"/>
                  <a:pt x="2239146" y="599554"/>
                </a:cubicBezTo>
                <a:cubicBezTo>
                  <a:pt x="2337571" y="625748"/>
                  <a:pt x="2475683" y="641623"/>
                  <a:pt x="2548708" y="661467"/>
                </a:cubicBezTo>
                <a:cubicBezTo>
                  <a:pt x="2621733" y="681311"/>
                  <a:pt x="2655865" y="682898"/>
                  <a:pt x="2677296" y="718617"/>
                </a:cubicBezTo>
                <a:cubicBezTo>
                  <a:pt x="2698727" y="754336"/>
                  <a:pt x="2747146" y="836092"/>
                  <a:pt x="2677296" y="875779"/>
                </a:cubicBezTo>
                <a:cubicBezTo>
                  <a:pt x="2607446" y="915466"/>
                  <a:pt x="2359002" y="906736"/>
                  <a:pt x="2258196" y="956742"/>
                </a:cubicBezTo>
                <a:cubicBezTo>
                  <a:pt x="2157390" y="1006748"/>
                  <a:pt x="2137545" y="1108348"/>
                  <a:pt x="2072458" y="1175817"/>
                </a:cubicBezTo>
                <a:cubicBezTo>
                  <a:pt x="2007371" y="1243286"/>
                  <a:pt x="1947840" y="1303610"/>
                  <a:pt x="1867671" y="1361554"/>
                </a:cubicBezTo>
                <a:cubicBezTo>
                  <a:pt x="1787502" y="1419498"/>
                  <a:pt x="1591446" y="1523479"/>
                  <a:pt x="1591446" y="1523479"/>
                </a:cubicBezTo>
                <a:cubicBezTo>
                  <a:pt x="1496990" y="1579835"/>
                  <a:pt x="1404914" y="1669530"/>
                  <a:pt x="1300933" y="1699692"/>
                </a:cubicBezTo>
                <a:cubicBezTo>
                  <a:pt x="1196952" y="1729855"/>
                  <a:pt x="1068364" y="1722710"/>
                  <a:pt x="967558" y="1704454"/>
                </a:cubicBezTo>
                <a:cubicBezTo>
                  <a:pt x="866752" y="1686198"/>
                  <a:pt x="777058" y="1638573"/>
                  <a:pt x="696096" y="1590154"/>
                </a:cubicBezTo>
                <a:cubicBezTo>
                  <a:pt x="615134" y="1541735"/>
                  <a:pt x="562746" y="1494111"/>
                  <a:pt x="481783" y="1413942"/>
                </a:cubicBezTo>
                <a:cubicBezTo>
                  <a:pt x="400820" y="1333773"/>
                  <a:pt x="282552" y="1200423"/>
                  <a:pt x="210321" y="1109142"/>
                </a:cubicBezTo>
                <a:cubicBezTo>
                  <a:pt x="138090" y="1017861"/>
                  <a:pt x="83321" y="934517"/>
                  <a:pt x="48396" y="866254"/>
                </a:cubicBezTo>
                <a:cubicBezTo>
                  <a:pt x="13471" y="797991"/>
                  <a:pt x="-3992" y="734492"/>
                  <a:pt x="771" y="699567"/>
                </a:cubicBezTo>
                <a:cubicBezTo>
                  <a:pt x="5533" y="664642"/>
                  <a:pt x="44427" y="680517"/>
                  <a:pt x="96021" y="647179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4" name="Прямоугольник 143"/>
          <p:cNvSpPr/>
          <p:nvPr/>
        </p:nvSpPr>
        <p:spPr>
          <a:xfrm>
            <a:off x="5411015" y="5501236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5" name="Прямоугольник 144"/>
          <p:cNvSpPr/>
          <p:nvPr/>
        </p:nvSpPr>
        <p:spPr>
          <a:xfrm>
            <a:off x="5689617" y="5289305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6" name="Прямоугольник 145"/>
          <p:cNvSpPr/>
          <p:nvPr/>
        </p:nvSpPr>
        <p:spPr>
          <a:xfrm>
            <a:off x="5692001" y="5501236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7" name="Прямоугольник 146"/>
          <p:cNvSpPr/>
          <p:nvPr/>
        </p:nvSpPr>
        <p:spPr>
          <a:xfrm>
            <a:off x="5546746" y="5709596"/>
            <a:ext cx="161925" cy="140494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8" name="Прямоугольник 147"/>
          <p:cNvSpPr/>
          <p:nvPr/>
        </p:nvSpPr>
        <p:spPr>
          <a:xfrm>
            <a:off x="5792015" y="5764772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49" name="Прямоугольник 148"/>
          <p:cNvSpPr/>
          <p:nvPr/>
        </p:nvSpPr>
        <p:spPr>
          <a:xfrm>
            <a:off x="5970610" y="6161251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0" name="Прямоугольник 149"/>
          <p:cNvSpPr/>
          <p:nvPr/>
        </p:nvSpPr>
        <p:spPr>
          <a:xfrm>
            <a:off x="5772963" y="5976703"/>
            <a:ext cx="161925" cy="14049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1" name="Прямоугольник 150"/>
          <p:cNvSpPr/>
          <p:nvPr/>
        </p:nvSpPr>
        <p:spPr>
          <a:xfrm>
            <a:off x="6187304" y="630174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2" name="Прямоугольник 151"/>
          <p:cNvSpPr/>
          <p:nvPr/>
        </p:nvSpPr>
        <p:spPr>
          <a:xfrm>
            <a:off x="6465911" y="6371992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3" name="Прямоугольник 152"/>
          <p:cNvSpPr/>
          <p:nvPr/>
        </p:nvSpPr>
        <p:spPr>
          <a:xfrm>
            <a:off x="6708799" y="630174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4" name="Прямоугольник 153"/>
          <p:cNvSpPr/>
          <p:nvPr/>
        </p:nvSpPr>
        <p:spPr>
          <a:xfrm>
            <a:off x="6920730" y="6104511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5" name="Прямоугольник 154"/>
          <p:cNvSpPr/>
          <p:nvPr/>
        </p:nvSpPr>
        <p:spPr>
          <a:xfrm>
            <a:off x="7135043" y="5943366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6" name="Прямоугольник 155"/>
          <p:cNvSpPr/>
          <p:nvPr/>
        </p:nvSpPr>
        <p:spPr>
          <a:xfrm>
            <a:off x="7335068" y="577984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7" name="Прямоугольник 156"/>
          <p:cNvSpPr/>
          <p:nvPr/>
        </p:nvSpPr>
        <p:spPr>
          <a:xfrm>
            <a:off x="7416030" y="5579819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8" name="Прямоугольник 157"/>
          <p:cNvSpPr/>
          <p:nvPr/>
        </p:nvSpPr>
        <p:spPr>
          <a:xfrm>
            <a:off x="5920601" y="514801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9" name="Прямоугольник 158"/>
          <p:cNvSpPr/>
          <p:nvPr/>
        </p:nvSpPr>
        <p:spPr>
          <a:xfrm>
            <a:off x="6151585" y="5007519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0" name="Прямоугольник 159"/>
          <p:cNvSpPr/>
          <p:nvPr/>
        </p:nvSpPr>
        <p:spPr>
          <a:xfrm>
            <a:off x="6384948" y="492080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1" name="Прямоугольник 160"/>
          <p:cNvSpPr/>
          <p:nvPr/>
        </p:nvSpPr>
        <p:spPr>
          <a:xfrm>
            <a:off x="6613549" y="5053566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2" name="Прямоугольник 161"/>
          <p:cNvSpPr/>
          <p:nvPr/>
        </p:nvSpPr>
        <p:spPr>
          <a:xfrm>
            <a:off x="6842150" y="5194060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3" name="Прямоугольник 162"/>
          <p:cNvSpPr/>
          <p:nvPr/>
        </p:nvSpPr>
        <p:spPr>
          <a:xfrm>
            <a:off x="7051701" y="5296848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4" name="Прямоугольник 163"/>
          <p:cNvSpPr/>
          <p:nvPr/>
        </p:nvSpPr>
        <p:spPr>
          <a:xfrm>
            <a:off x="7285062" y="539527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5" name="Прямоугольник 164"/>
          <p:cNvSpPr/>
          <p:nvPr/>
        </p:nvSpPr>
        <p:spPr>
          <a:xfrm>
            <a:off x="7697016" y="5535769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6" name="Прямоугольник 165"/>
          <p:cNvSpPr/>
          <p:nvPr/>
        </p:nvSpPr>
        <p:spPr>
          <a:xfrm>
            <a:off x="6199802" y="5313128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7" name="Прямоугольник 166"/>
          <p:cNvSpPr/>
          <p:nvPr/>
        </p:nvSpPr>
        <p:spPr>
          <a:xfrm>
            <a:off x="5981325" y="5407188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8" name="Прямоугольник 167"/>
          <p:cNvSpPr/>
          <p:nvPr/>
        </p:nvSpPr>
        <p:spPr>
          <a:xfrm>
            <a:off x="6185513" y="553140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69" name="Прямоугольник 168"/>
          <p:cNvSpPr/>
          <p:nvPr/>
        </p:nvSpPr>
        <p:spPr>
          <a:xfrm>
            <a:off x="6515918" y="5300022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0" name="Прямоугольник 169"/>
          <p:cNvSpPr/>
          <p:nvPr/>
        </p:nvSpPr>
        <p:spPr>
          <a:xfrm>
            <a:off x="6353993" y="512381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1" name="Прямоугольник 170"/>
          <p:cNvSpPr/>
          <p:nvPr/>
        </p:nvSpPr>
        <p:spPr>
          <a:xfrm>
            <a:off x="6726661" y="5402826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2" name="Прямоугольник 171"/>
          <p:cNvSpPr/>
          <p:nvPr/>
        </p:nvSpPr>
        <p:spPr>
          <a:xfrm>
            <a:off x="6424243" y="5473073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3" name="Прямоугольник 172"/>
          <p:cNvSpPr/>
          <p:nvPr/>
        </p:nvSpPr>
        <p:spPr>
          <a:xfrm>
            <a:off x="5970609" y="5624278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4" name="Прямоугольник 173"/>
          <p:cNvSpPr/>
          <p:nvPr/>
        </p:nvSpPr>
        <p:spPr>
          <a:xfrm>
            <a:off x="6048004" y="5811010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5" name="Прямоугольник 174"/>
          <p:cNvSpPr/>
          <p:nvPr/>
        </p:nvSpPr>
        <p:spPr>
          <a:xfrm>
            <a:off x="6190878" y="602075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6" name="Прямоугольник 175"/>
          <p:cNvSpPr/>
          <p:nvPr/>
        </p:nvSpPr>
        <p:spPr>
          <a:xfrm>
            <a:off x="6275411" y="5782038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7" name="Прямоугольник 176"/>
          <p:cNvSpPr/>
          <p:nvPr/>
        </p:nvSpPr>
        <p:spPr>
          <a:xfrm>
            <a:off x="6504008" y="5677265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8" name="Прямоугольник 177"/>
          <p:cNvSpPr/>
          <p:nvPr/>
        </p:nvSpPr>
        <p:spPr>
          <a:xfrm>
            <a:off x="6510560" y="5906456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9" name="Прямоугольник 178"/>
          <p:cNvSpPr/>
          <p:nvPr/>
        </p:nvSpPr>
        <p:spPr>
          <a:xfrm>
            <a:off x="6465317" y="611719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0" name="Прямоугольник 179"/>
          <p:cNvSpPr/>
          <p:nvPr/>
        </p:nvSpPr>
        <p:spPr>
          <a:xfrm>
            <a:off x="6751658" y="563659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1" name="Прямоугольник 180"/>
          <p:cNvSpPr/>
          <p:nvPr/>
        </p:nvSpPr>
        <p:spPr>
          <a:xfrm>
            <a:off x="6751658" y="5811010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2" name="Прямоугольник 181"/>
          <p:cNvSpPr/>
          <p:nvPr/>
        </p:nvSpPr>
        <p:spPr>
          <a:xfrm>
            <a:off x="6726661" y="602075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3" name="Прямоугольник 182"/>
          <p:cNvSpPr/>
          <p:nvPr/>
        </p:nvSpPr>
        <p:spPr>
          <a:xfrm>
            <a:off x="6964774" y="5528827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4" name="Прямоугольник 183"/>
          <p:cNvSpPr/>
          <p:nvPr/>
        </p:nvSpPr>
        <p:spPr>
          <a:xfrm>
            <a:off x="6977876" y="5782038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5" name="Прямоугольник 184"/>
          <p:cNvSpPr/>
          <p:nvPr/>
        </p:nvSpPr>
        <p:spPr>
          <a:xfrm>
            <a:off x="7175506" y="5595299"/>
            <a:ext cx="161925" cy="140494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cxnSp>
        <p:nvCxnSpPr>
          <p:cNvPr id="186" name="Прямая соединительная линия 185"/>
          <p:cNvCxnSpPr/>
          <p:nvPr/>
        </p:nvCxnSpPr>
        <p:spPr>
          <a:xfrm>
            <a:off x="5719385" y="5131483"/>
            <a:ext cx="18678" cy="1693749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7" name="Стрелка вправо 186"/>
          <p:cNvSpPr/>
          <p:nvPr/>
        </p:nvSpPr>
        <p:spPr>
          <a:xfrm>
            <a:off x="5208909" y="5313128"/>
            <a:ext cx="3019125" cy="638376"/>
          </a:xfrm>
          <a:prstGeom prst="rightArrow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8" name="TextBox 187"/>
          <p:cNvSpPr txBox="1"/>
          <p:nvPr/>
        </p:nvSpPr>
        <p:spPr>
          <a:xfrm>
            <a:off x="7349051" y="4801131"/>
            <a:ext cx="1285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ект 3</a:t>
            </a:r>
            <a:endParaRPr lang="ru-RU" dirty="0"/>
          </a:p>
        </p:txBody>
      </p:sp>
      <p:cxnSp>
        <p:nvCxnSpPr>
          <p:cNvPr id="189" name="Прямая со стрелкой 188"/>
          <p:cNvCxnSpPr/>
          <p:nvPr/>
        </p:nvCxnSpPr>
        <p:spPr>
          <a:xfrm>
            <a:off x="6744518" y="1912153"/>
            <a:ext cx="832424" cy="70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Прямая со стрелкой 189"/>
          <p:cNvCxnSpPr/>
          <p:nvPr/>
        </p:nvCxnSpPr>
        <p:spPr>
          <a:xfrm flipV="1">
            <a:off x="6861656" y="2750032"/>
            <a:ext cx="703543" cy="8652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Прямая со стрелкой 190"/>
          <p:cNvCxnSpPr/>
          <p:nvPr/>
        </p:nvCxnSpPr>
        <p:spPr>
          <a:xfrm flipV="1">
            <a:off x="6828113" y="3483703"/>
            <a:ext cx="759673" cy="12723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Прямоугольник 191"/>
          <p:cNvSpPr/>
          <p:nvPr/>
        </p:nvSpPr>
        <p:spPr>
          <a:xfrm>
            <a:off x="8422547" y="1232954"/>
            <a:ext cx="170493" cy="23613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3" name="Прямоугольник 192"/>
          <p:cNvSpPr/>
          <p:nvPr/>
        </p:nvSpPr>
        <p:spPr>
          <a:xfrm>
            <a:off x="9509436" y="1232954"/>
            <a:ext cx="121988" cy="23613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4" name="Прямоугольник 193"/>
          <p:cNvSpPr/>
          <p:nvPr/>
        </p:nvSpPr>
        <p:spPr>
          <a:xfrm>
            <a:off x="9021925" y="1232954"/>
            <a:ext cx="58635" cy="23613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5" name="Прямоугольник 194"/>
          <p:cNvSpPr/>
          <p:nvPr/>
        </p:nvSpPr>
        <p:spPr>
          <a:xfrm>
            <a:off x="10267625" y="1232954"/>
            <a:ext cx="79980" cy="23613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6" name="Прямоугольник 195"/>
          <p:cNvSpPr/>
          <p:nvPr/>
        </p:nvSpPr>
        <p:spPr>
          <a:xfrm>
            <a:off x="10776480" y="1232954"/>
            <a:ext cx="85727" cy="23613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7" name="Прямоугольник 196"/>
          <p:cNvSpPr/>
          <p:nvPr/>
        </p:nvSpPr>
        <p:spPr>
          <a:xfrm>
            <a:off x="11291083" y="1232954"/>
            <a:ext cx="193826" cy="23613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8" name="Прямоугольник 197"/>
          <p:cNvSpPr/>
          <p:nvPr/>
        </p:nvSpPr>
        <p:spPr>
          <a:xfrm>
            <a:off x="8423992" y="1437306"/>
            <a:ext cx="3060917" cy="47424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600" dirty="0"/>
          </a:p>
        </p:txBody>
      </p:sp>
      <p:sp>
        <p:nvSpPr>
          <p:cNvPr id="199" name="TextBox 198"/>
          <p:cNvSpPr txBox="1"/>
          <p:nvPr/>
        </p:nvSpPr>
        <p:spPr>
          <a:xfrm>
            <a:off x="9680517" y="1346621"/>
            <a:ext cx="5517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Простой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2267136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30"/>
            <a:ext cx="8680327" cy="3440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Этап №3. Рынок проектов и ресурсов. Саморегулирование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ee4pHeader1"/>
          <p:cNvSpPr txBox="1"/>
          <p:nvPr/>
        </p:nvSpPr>
        <p:spPr>
          <a:xfrm>
            <a:off x="360046" y="1532657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Что необходимо предпринять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29" name="ee4pHeader1"/>
          <p:cNvSpPr txBox="1"/>
          <p:nvPr/>
        </p:nvSpPr>
        <p:spPr>
          <a:xfrm>
            <a:off x="367058" y="558025"/>
            <a:ext cx="11285086" cy="83412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иртуальный 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аукцион, где торгуются умения, знания, опыт, а также ответственность сделать в срок. У задачи появляется срок исполнения и бонус/штраф за просрочку, он выставляется автоматически исходя из ситуации. У проектной команды стоит выбор каких задач и сколько набрать, с учетом что будут риски наложения, перегрузки и, как следствие, штрафы за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роки</a:t>
            </a:r>
            <a:endParaRPr lang="az-Cyrl-AZ" sz="12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0" name="ee4pContent2"/>
          <p:cNvSpPr txBox="1"/>
          <p:nvPr/>
        </p:nvSpPr>
        <p:spPr>
          <a:xfrm>
            <a:off x="231057" y="1865247"/>
            <a:ext cx="5150567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латить за обучение и наставничество, выплачивать за учеников и их постоянное развитие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вести механизмы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рыночных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отношений внутри группы предприятия  - биржа проектов, ресурсов.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Оцифровать навыки сотрудников и предложений по их привлечению в будущие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екты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1" name="ee4pHeader1"/>
          <p:cNvSpPr txBox="1"/>
          <p:nvPr/>
        </p:nvSpPr>
        <p:spPr>
          <a:xfrm>
            <a:off x="358694" y="3415982"/>
            <a:ext cx="4888531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кие возможности  получит команда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2" name="ee4pContent2"/>
          <p:cNvSpPr txBox="1"/>
          <p:nvPr/>
        </p:nvSpPr>
        <p:spPr>
          <a:xfrm>
            <a:off x="243720" y="3682457"/>
            <a:ext cx="5150566" cy="1686327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Управля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своим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азвитием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- балансируя на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ектах между зарабатыванием и обучением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озможность наращива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личную капитализацию.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озможнос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рискнуть и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едложить решить боле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сложные задачи с высокой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еопределенностью и хорошим бонусом.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Возможность прояви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ебя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5" name="ee4pHeader1"/>
          <p:cNvSpPr txBox="1"/>
          <p:nvPr/>
        </p:nvSpPr>
        <p:spPr>
          <a:xfrm>
            <a:off x="5830961" y="1524932"/>
            <a:ext cx="4995189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ую информацию </a:t>
            </a:r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лучит руководитель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6" name="ee4pContent2"/>
          <p:cNvSpPr txBox="1"/>
          <p:nvPr/>
        </p:nvSpPr>
        <p:spPr>
          <a:xfrm>
            <a:off x="5727088" y="1839412"/>
            <a:ext cx="5918044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екты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с недостаточной мотивацией персонала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тер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 коммуникациях и взаимодействии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Стоимость, распределение  и рост человеческого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питала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оголовную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ринесенную операционную прибыль</a:t>
            </a:r>
          </a:p>
        </p:txBody>
      </p:sp>
      <p:sp>
        <p:nvSpPr>
          <p:cNvPr id="37" name="ee4pHeader1"/>
          <p:cNvSpPr txBox="1"/>
          <p:nvPr/>
        </p:nvSpPr>
        <p:spPr>
          <a:xfrm>
            <a:off x="6009601" y="3415982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smtClean="0">
                <a:solidFill>
                  <a:srgbClr val="001D4D"/>
                </a:solidFill>
                <a:latin typeface="Arial" panose="020B0604020202020204" pitchFamily="34" charset="0"/>
              </a:rPr>
              <a:t>Что будет делать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8" name="ee4pContent2"/>
          <p:cNvSpPr txBox="1"/>
          <p:nvPr/>
        </p:nvSpPr>
        <p:spPr>
          <a:xfrm>
            <a:off x="5825563" y="3714913"/>
            <a:ext cx="5899711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осредоточитс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 новых продуктах и направления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осредоточитьс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 развитии мотивационных составляющих и выстраивании саморганизовывающейся компании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осредоточитьс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 развитии процессной составляющей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Внедрять риск-ориентированный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дход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9" name="ee4pHeader1"/>
          <p:cNvSpPr txBox="1"/>
          <p:nvPr/>
        </p:nvSpPr>
        <p:spPr>
          <a:xfrm>
            <a:off x="3360540" y="5630733"/>
            <a:ext cx="4340336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ая следующая потребность откроется</a:t>
            </a:r>
          </a:p>
        </p:txBody>
      </p:sp>
      <p:sp>
        <p:nvSpPr>
          <p:cNvPr id="40" name="ee4pContent2"/>
          <p:cNvSpPr txBox="1"/>
          <p:nvPr/>
        </p:nvSpPr>
        <p:spPr>
          <a:xfrm>
            <a:off x="367058" y="5938632"/>
            <a:ext cx="11285086" cy="90457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Децентрализованно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ланирование и привлечение внешних организаций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спользование ИИ и цифровых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агентов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5530708" y="1412737"/>
            <a:ext cx="0" cy="411401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415422" y="3267645"/>
            <a:ext cx="1128508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360046" y="5388248"/>
            <a:ext cx="11285086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360046" y="1412737"/>
            <a:ext cx="1128508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Стрелка вправо 50"/>
          <p:cNvSpPr/>
          <p:nvPr/>
        </p:nvSpPr>
        <p:spPr>
          <a:xfrm rot="5400000">
            <a:off x="4327524" y="3023669"/>
            <a:ext cx="488338" cy="62878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право 53"/>
          <p:cNvSpPr/>
          <p:nvPr/>
        </p:nvSpPr>
        <p:spPr>
          <a:xfrm rot="5400000">
            <a:off x="10488108" y="3013963"/>
            <a:ext cx="488338" cy="62878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право 54"/>
          <p:cNvSpPr/>
          <p:nvPr/>
        </p:nvSpPr>
        <p:spPr>
          <a:xfrm rot="5400000">
            <a:off x="5255631" y="5052709"/>
            <a:ext cx="488338" cy="628781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489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8680327" cy="73125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Этап №4. </a:t>
            </a:r>
            <a:r>
              <a:rPr lang="ru-RU" dirty="0"/>
              <a:t>Децентрализованное планирование. Агенты - цифровые двойники. </a:t>
            </a:r>
            <a:r>
              <a:rPr lang="ru-RU" dirty="0" err="1" smtClean="0"/>
              <a:t>Мультиагентные</a:t>
            </a:r>
            <a:r>
              <a:rPr lang="ru-RU" dirty="0" smtClean="0"/>
              <a:t> </a:t>
            </a:r>
            <a:r>
              <a:rPr lang="ru-RU" dirty="0"/>
              <a:t>сети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9" name="ee4pHeader1"/>
          <p:cNvSpPr txBox="1"/>
          <p:nvPr/>
        </p:nvSpPr>
        <p:spPr>
          <a:xfrm>
            <a:off x="360046" y="905816"/>
            <a:ext cx="11509901" cy="184599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У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каждого предприятия / подразделения / сотрудника / проекта /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этапа / задач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может быть своя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тратегия и тактика, учитывающие интерес в общей экосистеме производства и получения прибыли. 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едлагаем разработать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цифровых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двойников – роботов агентов, освободить человека от рутины торговли на бирже. Такие примеры уже есть – роботы, которые торгуют </a:t>
            </a:r>
            <a:r>
              <a:rPr lang="ru-RU" sz="1400" dirty="0" err="1" smtClean="0">
                <a:solidFill>
                  <a:srgbClr val="001D4D"/>
                </a:solidFill>
                <a:latin typeface="Arial" panose="020B0604020202020204" pitchFamily="34" charset="0"/>
              </a:rPr>
              <a:t>криптовалютой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, нефтепродуктами, акциями и т.д. Перенять опыт из других отраслей, так же наделить роботов элементами ИИ. </a:t>
            </a: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оздать платформу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рынок умных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ертифицированных роботов - агентов, умеющих договариваться между собой согласно прописанных политик и ограничений. Исключить человека из торговли. Оставить возможной торговлю только посредством роботов и их настроек. Взятки и откаты уйдут в историю.</a:t>
            </a:r>
            <a:endParaRPr lang="az-Cyrl-AZ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09140" y="2825177"/>
            <a:ext cx="8680327" cy="4075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Этап №5. </a:t>
            </a:r>
            <a:r>
              <a:rPr lang="ru-RU" dirty="0"/>
              <a:t>Планирование и управление кооперацией</a:t>
            </a:r>
          </a:p>
        </p:txBody>
      </p:sp>
      <p:sp>
        <p:nvSpPr>
          <p:cNvPr id="24" name="ee4pHeader1"/>
          <p:cNvSpPr txBox="1"/>
          <p:nvPr/>
        </p:nvSpPr>
        <p:spPr>
          <a:xfrm>
            <a:off x="309140" y="3242095"/>
            <a:ext cx="11285086" cy="838365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огда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звестна текущая и запланированная нагрузка, вплоть до сотрудника, когда известны их точности прогнозов и стоимости, оцифрованы навыки, то можно автоматически подбирать варианты кооперации, просчитывая и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едлага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в зависимости от настроек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азличные варианты с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высокой точностью определяя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итоговые срок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стоимос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абот.</a:t>
            </a:r>
            <a:endParaRPr lang="az-Cyrl-AZ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4153823"/>
            <a:ext cx="8680327" cy="3897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Эффект от внедр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8234" y="4601815"/>
            <a:ext cx="1128508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arenR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ост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ффективности использования ресурсов от 10% до 40% в наукоемки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ах - авиастроение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смос, бортовая аппаратура,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НИРы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ОКРы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; особенно себя проявил данный подход 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икроэлектронике.</a:t>
            </a:r>
          </a:p>
          <a:p>
            <a:pPr marL="457200" indent="-457200">
              <a:buAutoNum type="arabicParenR"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AutoNum type="arabicParenR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меньшени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о 20%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сроков работ при постановке системы управления. Около 1 года на адаптацию. </a:t>
            </a:r>
          </a:p>
          <a:p>
            <a:pPr marL="457200" indent="-457200">
              <a:buAutoNum type="arabicParenR"/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AutoNum type="arabicParenR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ение эффективных и неэффективных ресурсов. </a:t>
            </a:r>
          </a:p>
          <a:p>
            <a:pPr marL="457200" indent="-457200">
              <a:buAutoNum type="arabicParenR"/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AutoNum type="arabicParenR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ирование прозрачного прогнозируемого внутреннего рынка ресурсов. По опыту 10% сотрудников станут не нужными. Остальные дадут эффект перекрывающий эти потери.</a:t>
            </a:r>
          </a:p>
          <a:p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09140" y="4007096"/>
            <a:ext cx="11285086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4" name="Стрелка вправо 13"/>
          <p:cNvSpPr/>
          <p:nvPr/>
        </p:nvSpPr>
        <p:spPr>
          <a:xfrm rot="5400000">
            <a:off x="5835530" y="3839433"/>
            <a:ext cx="488338" cy="628781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60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Footer Placeholder 1"/>
          <p:cNvSpPr txBox="1">
            <a:spLocks/>
          </p:cNvSpPr>
          <p:nvPr/>
        </p:nvSpPr>
        <p:spPr>
          <a:xfrm rot="16200000">
            <a:off x="9988523" y="2621600"/>
            <a:ext cx="347472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accent5"/>
                </a:solidFill>
                <a:latin typeface="Brutal Type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60">
                <a:latin typeface="Arial" panose="020B0604020202020204" pitchFamily="34" charset="0"/>
              </a:rPr>
              <a:t>Название презентации</a:t>
            </a:r>
            <a:endParaRPr lang="en-US" sz="960">
              <a:latin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30" y="217335"/>
            <a:ext cx="12009020" cy="6557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706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60046" y="670085"/>
            <a:ext cx="11183274" cy="3345734"/>
          </a:xfrm>
        </p:spPr>
        <p:txBody>
          <a:bodyPr anchor="t">
            <a:no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 smtClean="0"/>
              <a:t>Ситуация</a:t>
            </a:r>
          </a:p>
          <a:p>
            <a:pPr marL="205735" indent="-20573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Растет сложность и динамика принятия управленческих решений</a:t>
            </a:r>
          </a:p>
          <a:p>
            <a:pPr marL="205735" indent="-20573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Скорость </a:t>
            </a:r>
            <a:r>
              <a:rPr lang="ru-RU" sz="1600" dirty="0"/>
              <a:t>перепланирования не соответствует скорости изменений, разрыв очень большой - отсюда </a:t>
            </a:r>
            <a:r>
              <a:rPr lang="ru-RU" sz="1600" dirty="0" smtClean="0"/>
              <a:t>простои, не </a:t>
            </a:r>
            <a:r>
              <a:rPr lang="ru-RU" sz="1600" dirty="0"/>
              <a:t>лучшая </a:t>
            </a:r>
            <a:r>
              <a:rPr lang="ru-RU" sz="1600" dirty="0" smtClean="0"/>
              <a:t>эффективность использования ресурсов. Сдвиги сроков на 10% - 100% вправо.</a:t>
            </a:r>
            <a:endParaRPr lang="ru-RU" sz="1600" dirty="0"/>
          </a:p>
          <a:p>
            <a:pPr marL="205735" indent="-20573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Нет </a:t>
            </a:r>
            <a:r>
              <a:rPr lang="ru-RU" sz="1600" dirty="0"/>
              <a:t>эффективного планирования и учета трудоемкости </a:t>
            </a:r>
            <a:r>
              <a:rPr lang="ru-RU" sz="1600" dirty="0" smtClean="0"/>
              <a:t>– гибко управлять </a:t>
            </a:r>
            <a:r>
              <a:rPr lang="ru-RU" sz="1600" dirty="0"/>
              <a:t>через </a:t>
            </a:r>
            <a:r>
              <a:rPr lang="ru-RU" sz="1600" dirty="0" smtClean="0"/>
              <a:t>трудоемкость невозможно, при таком планировании случаются коллизии, перегрузки, но чаще «расслабление» и удорожание услуг.</a:t>
            </a:r>
            <a:endParaRPr lang="ru-RU" sz="1600" dirty="0"/>
          </a:p>
          <a:p>
            <a:pPr marL="205735" indent="-20573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Внутренний </a:t>
            </a:r>
            <a:r>
              <a:rPr lang="ru-RU" sz="1600" dirty="0"/>
              <a:t>рынок ресурсов - это монополии по видам услуг, с непрозрачной загруженностью. Качество может падать, стоимость точно растет - естественная цель монополии.</a:t>
            </a:r>
          </a:p>
          <a:p>
            <a:pPr>
              <a:lnSpc>
                <a:spcPct val="150000"/>
              </a:lnSpc>
            </a:pPr>
            <a:endParaRPr lang="ru-RU" sz="1600" b="1" dirty="0" smtClean="0"/>
          </a:p>
          <a:p>
            <a:pPr>
              <a:lnSpc>
                <a:spcPct val="150000"/>
              </a:lnSpc>
            </a:pPr>
            <a:r>
              <a:rPr lang="ru-RU" sz="1600" b="1" dirty="0" smtClean="0"/>
              <a:t>Следствие</a:t>
            </a:r>
          </a:p>
          <a:p>
            <a:pPr>
              <a:lnSpc>
                <a:spcPct val="150000"/>
              </a:lnSpc>
            </a:pPr>
            <a:r>
              <a:rPr lang="ru-RU" sz="1600" dirty="0" smtClean="0"/>
              <a:t>Рост себестоимости, </a:t>
            </a:r>
            <a:r>
              <a:rPr lang="ru-RU" sz="1600" dirty="0" err="1" smtClean="0"/>
              <a:t>демотивация</a:t>
            </a:r>
            <a:r>
              <a:rPr lang="ru-RU" sz="1600" dirty="0" smtClean="0"/>
              <a:t> среднего менеджмента и высококвалифицированных сотрудников, снижение отдачи и затягивание сроков.</a:t>
            </a:r>
            <a:endParaRPr lang="ru-RU" sz="16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360046" y="5139819"/>
            <a:ext cx="10629900" cy="140557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160" dirty="0">
                <a:solidFill>
                  <a:schemeClr val="accent1"/>
                </a:solidFill>
              </a:rPr>
              <a:t>Ключевыми проблемами </a:t>
            </a:r>
            <a:r>
              <a:rPr lang="ru-RU" sz="2160" dirty="0" smtClean="0">
                <a:solidFill>
                  <a:schemeClr val="accent1"/>
                </a:solidFill>
              </a:rPr>
              <a:t>предприятий ОПК </a:t>
            </a:r>
            <a:r>
              <a:rPr lang="ru-RU" sz="2160" dirty="0">
                <a:solidFill>
                  <a:schemeClr val="accent1"/>
                </a:solidFill>
              </a:rPr>
              <a:t>являются не технологическое отставание и износ оборудования, а </a:t>
            </a:r>
            <a:r>
              <a:rPr lang="ru-RU" sz="2160" dirty="0">
                <a:solidFill>
                  <a:schemeClr val="accent4">
                    <a:lumMod val="50000"/>
                  </a:schemeClr>
                </a:solidFill>
              </a:rPr>
              <a:t>устаревшие вертикально-интегрированные модели</a:t>
            </a:r>
            <a:r>
              <a:rPr lang="ru-RU" sz="2160" dirty="0">
                <a:solidFill>
                  <a:schemeClr val="accent1"/>
                </a:solidFill>
              </a:rPr>
              <a:t> управления и </a:t>
            </a:r>
            <a:r>
              <a:rPr lang="ru-RU" sz="2160" u="sng" dirty="0">
                <a:solidFill>
                  <a:schemeClr val="accent4">
                    <a:lumMod val="50000"/>
                  </a:schemeClr>
                </a:solidFill>
              </a:rPr>
              <a:t>нехватка ключевых управленческих компетенций</a:t>
            </a:r>
            <a:r>
              <a:rPr lang="ru-RU" sz="2160" dirty="0">
                <a:solidFill>
                  <a:schemeClr val="accent1"/>
                </a:solidFill>
              </a:rPr>
              <a:t>.</a:t>
            </a:r>
            <a:endParaRPr lang="en-US" sz="2160" dirty="0">
              <a:solidFill>
                <a:schemeClr val="accent1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8680327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r>
              <a:rPr lang="ru-RU" dirty="0" smtClean="0"/>
              <a:t>Ключевые п</a:t>
            </a:r>
            <a:r>
              <a:rPr lang="bg-BG" dirty="0" smtClean="0"/>
              <a:t>роблемы управления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81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9120384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Мы предлагаем создать Фрэймворк для построения систем управления НИОКР на предприятиях ОПК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75" name="Group 55"/>
          <p:cNvGrpSpPr/>
          <p:nvPr/>
        </p:nvGrpSpPr>
        <p:grpSpPr>
          <a:xfrm>
            <a:off x="4260013" y="5656082"/>
            <a:ext cx="1013878" cy="499940"/>
            <a:chOff x="3736336" y="5001931"/>
            <a:chExt cx="1013878" cy="499940"/>
          </a:xfrm>
        </p:grpSpPr>
        <p:sp>
          <p:nvSpPr>
            <p:cNvPr id="76" name="Freeform 13"/>
            <p:cNvSpPr>
              <a:spLocks/>
            </p:cNvSpPr>
            <p:nvPr/>
          </p:nvSpPr>
          <p:spPr bwMode="auto">
            <a:xfrm>
              <a:off x="3736336" y="5001931"/>
              <a:ext cx="1013878" cy="499940"/>
            </a:xfrm>
            <a:custGeom>
              <a:avLst/>
              <a:gdLst>
                <a:gd name="T0" fmla="*/ 260 w 724"/>
                <a:gd name="T1" fmla="*/ 357 h 357"/>
                <a:gd name="T2" fmla="*/ 507 w 724"/>
                <a:gd name="T3" fmla="*/ 357 h 357"/>
                <a:gd name="T4" fmla="*/ 724 w 724"/>
                <a:gd name="T5" fmla="*/ 0 h 357"/>
                <a:gd name="T6" fmla="*/ 260 w 724"/>
                <a:gd name="T7" fmla="*/ 0 h 357"/>
                <a:gd name="T8" fmla="*/ 0 w 724"/>
                <a:gd name="T9" fmla="*/ 176 h 357"/>
                <a:gd name="T10" fmla="*/ 260 w 724"/>
                <a:gd name="T11" fmla="*/ 35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4" h="357">
                  <a:moveTo>
                    <a:pt x="260" y="357"/>
                  </a:moveTo>
                  <a:lnTo>
                    <a:pt x="507" y="357"/>
                  </a:lnTo>
                  <a:lnTo>
                    <a:pt x="724" y="0"/>
                  </a:lnTo>
                  <a:lnTo>
                    <a:pt x="260" y="0"/>
                  </a:lnTo>
                  <a:lnTo>
                    <a:pt x="0" y="176"/>
                  </a:lnTo>
                  <a:lnTo>
                    <a:pt x="260" y="357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4"/>
            <p:cNvSpPr>
              <a:spLocks/>
            </p:cNvSpPr>
            <p:nvPr/>
          </p:nvSpPr>
          <p:spPr bwMode="auto">
            <a:xfrm>
              <a:off x="3789551" y="5031340"/>
              <a:ext cx="943859" cy="441124"/>
            </a:xfrm>
            <a:custGeom>
              <a:avLst/>
              <a:gdLst>
                <a:gd name="T0" fmla="*/ 674 w 674"/>
                <a:gd name="T1" fmla="*/ 0 h 315"/>
                <a:gd name="T2" fmla="*/ 230 w 674"/>
                <a:gd name="T3" fmla="*/ 0 h 315"/>
                <a:gd name="T4" fmla="*/ 0 w 674"/>
                <a:gd name="T5" fmla="*/ 155 h 315"/>
                <a:gd name="T6" fmla="*/ 230 w 674"/>
                <a:gd name="T7" fmla="*/ 315 h 315"/>
                <a:gd name="T8" fmla="*/ 481 w 674"/>
                <a:gd name="T9" fmla="*/ 315 h 315"/>
                <a:gd name="T10" fmla="*/ 674 w 674"/>
                <a:gd name="T11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4" h="315">
                  <a:moveTo>
                    <a:pt x="674" y="0"/>
                  </a:moveTo>
                  <a:lnTo>
                    <a:pt x="230" y="0"/>
                  </a:lnTo>
                  <a:lnTo>
                    <a:pt x="0" y="155"/>
                  </a:lnTo>
                  <a:lnTo>
                    <a:pt x="230" y="315"/>
                  </a:lnTo>
                  <a:lnTo>
                    <a:pt x="481" y="315"/>
                  </a:lnTo>
                  <a:lnTo>
                    <a:pt x="674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39"/>
            <p:cNvSpPr>
              <a:spLocks noEditPoints="1"/>
            </p:cNvSpPr>
            <p:nvPr/>
          </p:nvSpPr>
          <p:spPr bwMode="auto">
            <a:xfrm>
              <a:off x="4110239" y="5139170"/>
              <a:ext cx="138638" cy="245069"/>
            </a:xfrm>
            <a:custGeom>
              <a:avLst/>
              <a:gdLst>
                <a:gd name="T0" fmla="*/ 110 w 110"/>
                <a:gd name="T1" fmla="*/ 117 h 194"/>
                <a:gd name="T2" fmla="*/ 95 w 110"/>
                <a:gd name="T3" fmla="*/ 175 h 194"/>
                <a:gd name="T4" fmla="*/ 55 w 110"/>
                <a:gd name="T5" fmla="*/ 194 h 194"/>
                <a:gd name="T6" fmla="*/ 15 w 110"/>
                <a:gd name="T7" fmla="*/ 175 h 194"/>
                <a:gd name="T8" fmla="*/ 0 w 110"/>
                <a:gd name="T9" fmla="*/ 117 h 194"/>
                <a:gd name="T10" fmla="*/ 0 w 110"/>
                <a:gd name="T11" fmla="*/ 77 h 194"/>
                <a:gd name="T12" fmla="*/ 15 w 110"/>
                <a:gd name="T13" fmla="*/ 19 h 194"/>
                <a:gd name="T14" fmla="*/ 55 w 110"/>
                <a:gd name="T15" fmla="*/ 0 h 194"/>
                <a:gd name="T16" fmla="*/ 95 w 110"/>
                <a:gd name="T17" fmla="*/ 19 h 194"/>
                <a:gd name="T18" fmla="*/ 110 w 110"/>
                <a:gd name="T19" fmla="*/ 77 h 194"/>
                <a:gd name="T20" fmla="*/ 110 w 110"/>
                <a:gd name="T21" fmla="*/ 117 h 194"/>
                <a:gd name="T22" fmla="*/ 74 w 110"/>
                <a:gd name="T23" fmla="*/ 73 h 194"/>
                <a:gd name="T24" fmla="*/ 69 w 110"/>
                <a:gd name="T25" fmla="*/ 40 h 194"/>
                <a:gd name="T26" fmla="*/ 55 w 110"/>
                <a:gd name="T27" fmla="*/ 30 h 194"/>
                <a:gd name="T28" fmla="*/ 55 w 110"/>
                <a:gd name="T29" fmla="*/ 30 h 194"/>
                <a:gd name="T30" fmla="*/ 41 w 110"/>
                <a:gd name="T31" fmla="*/ 40 h 194"/>
                <a:gd name="T32" fmla="*/ 37 w 110"/>
                <a:gd name="T33" fmla="*/ 73 h 194"/>
                <a:gd name="T34" fmla="*/ 37 w 110"/>
                <a:gd name="T35" fmla="*/ 120 h 194"/>
                <a:gd name="T36" fmla="*/ 41 w 110"/>
                <a:gd name="T37" fmla="*/ 154 h 194"/>
                <a:gd name="T38" fmla="*/ 55 w 110"/>
                <a:gd name="T39" fmla="*/ 164 h 194"/>
                <a:gd name="T40" fmla="*/ 56 w 110"/>
                <a:gd name="T41" fmla="*/ 164 h 194"/>
                <a:gd name="T42" fmla="*/ 69 w 110"/>
                <a:gd name="T43" fmla="*/ 154 h 194"/>
                <a:gd name="T44" fmla="*/ 74 w 110"/>
                <a:gd name="T45" fmla="*/ 120 h 194"/>
                <a:gd name="T46" fmla="*/ 74 w 110"/>
                <a:gd name="T47" fmla="*/ 7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94">
                  <a:moveTo>
                    <a:pt x="110" y="117"/>
                  </a:moveTo>
                  <a:cubicBezTo>
                    <a:pt x="110" y="143"/>
                    <a:pt x="105" y="162"/>
                    <a:pt x="95" y="175"/>
                  </a:cubicBezTo>
                  <a:cubicBezTo>
                    <a:pt x="85" y="188"/>
                    <a:pt x="72" y="194"/>
                    <a:pt x="55" y="194"/>
                  </a:cubicBezTo>
                  <a:cubicBezTo>
                    <a:pt x="38" y="194"/>
                    <a:pt x="25" y="188"/>
                    <a:pt x="15" y="175"/>
                  </a:cubicBezTo>
                  <a:cubicBezTo>
                    <a:pt x="5" y="162"/>
                    <a:pt x="0" y="143"/>
                    <a:pt x="0" y="11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2"/>
                    <a:pt x="5" y="32"/>
                    <a:pt x="15" y="19"/>
                  </a:cubicBezTo>
                  <a:cubicBezTo>
                    <a:pt x="25" y="6"/>
                    <a:pt x="38" y="0"/>
                    <a:pt x="55" y="0"/>
                  </a:cubicBezTo>
                  <a:cubicBezTo>
                    <a:pt x="72" y="0"/>
                    <a:pt x="85" y="6"/>
                    <a:pt x="95" y="19"/>
                  </a:cubicBezTo>
                  <a:cubicBezTo>
                    <a:pt x="105" y="32"/>
                    <a:pt x="110" y="52"/>
                    <a:pt x="110" y="77"/>
                  </a:cubicBezTo>
                  <a:lnTo>
                    <a:pt x="110" y="117"/>
                  </a:lnTo>
                  <a:close/>
                  <a:moveTo>
                    <a:pt x="74" y="73"/>
                  </a:moveTo>
                  <a:cubicBezTo>
                    <a:pt x="74" y="58"/>
                    <a:pt x="72" y="47"/>
                    <a:pt x="69" y="40"/>
                  </a:cubicBezTo>
                  <a:cubicBezTo>
                    <a:pt x="66" y="33"/>
                    <a:pt x="61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49" y="30"/>
                    <a:pt x="44" y="33"/>
                    <a:pt x="41" y="40"/>
                  </a:cubicBezTo>
                  <a:cubicBezTo>
                    <a:pt x="38" y="47"/>
                    <a:pt x="37" y="58"/>
                    <a:pt x="37" y="73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7" y="136"/>
                    <a:pt x="38" y="147"/>
                    <a:pt x="41" y="154"/>
                  </a:cubicBezTo>
                  <a:cubicBezTo>
                    <a:pt x="45" y="161"/>
                    <a:pt x="49" y="164"/>
                    <a:pt x="55" y="164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61" y="164"/>
                    <a:pt x="66" y="161"/>
                    <a:pt x="69" y="154"/>
                  </a:cubicBezTo>
                  <a:cubicBezTo>
                    <a:pt x="72" y="147"/>
                    <a:pt x="74" y="136"/>
                    <a:pt x="74" y="120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0"/>
            <p:cNvSpPr>
              <a:spLocks/>
            </p:cNvSpPr>
            <p:nvPr/>
          </p:nvSpPr>
          <p:spPr bwMode="auto">
            <a:xfrm>
              <a:off x="4285287" y="5140570"/>
              <a:ext cx="91025" cy="240867"/>
            </a:xfrm>
            <a:custGeom>
              <a:avLst/>
              <a:gdLst>
                <a:gd name="T0" fmla="*/ 65 w 65"/>
                <a:gd name="T1" fmla="*/ 172 h 172"/>
                <a:gd name="T2" fmla="*/ 31 w 65"/>
                <a:gd name="T3" fmla="*/ 172 h 172"/>
                <a:gd name="T4" fmla="*/ 31 w 65"/>
                <a:gd name="T5" fmla="*/ 36 h 172"/>
                <a:gd name="T6" fmla="*/ 0 w 65"/>
                <a:gd name="T7" fmla="*/ 37 h 172"/>
                <a:gd name="T8" fmla="*/ 0 w 65"/>
                <a:gd name="T9" fmla="*/ 12 h 172"/>
                <a:gd name="T10" fmla="*/ 65 w 65"/>
                <a:gd name="T11" fmla="*/ 0 h 172"/>
                <a:gd name="T12" fmla="*/ 65 w 65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72">
                  <a:moveTo>
                    <a:pt x="65" y="172"/>
                  </a:moveTo>
                  <a:lnTo>
                    <a:pt x="31" y="172"/>
                  </a:lnTo>
                  <a:lnTo>
                    <a:pt x="31" y="36"/>
                  </a:lnTo>
                  <a:lnTo>
                    <a:pt x="0" y="37"/>
                  </a:lnTo>
                  <a:lnTo>
                    <a:pt x="0" y="12"/>
                  </a:lnTo>
                  <a:lnTo>
                    <a:pt x="65" y="0"/>
                  </a:lnTo>
                  <a:lnTo>
                    <a:pt x="65" y="1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0" name="Group 57"/>
          <p:cNvGrpSpPr/>
          <p:nvPr/>
        </p:nvGrpSpPr>
        <p:grpSpPr>
          <a:xfrm>
            <a:off x="4957405" y="4222081"/>
            <a:ext cx="987271" cy="568559"/>
            <a:chOff x="4433728" y="3567930"/>
            <a:chExt cx="987271" cy="568559"/>
          </a:xfrm>
        </p:grpSpPr>
        <p:sp>
          <p:nvSpPr>
            <p:cNvPr id="81" name="Freeform 11"/>
            <p:cNvSpPr>
              <a:spLocks/>
            </p:cNvSpPr>
            <p:nvPr/>
          </p:nvSpPr>
          <p:spPr bwMode="auto">
            <a:xfrm>
              <a:off x="4433728" y="3567930"/>
              <a:ext cx="987271" cy="568559"/>
            </a:xfrm>
            <a:custGeom>
              <a:avLst/>
              <a:gdLst>
                <a:gd name="T0" fmla="*/ 260 w 705"/>
                <a:gd name="T1" fmla="*/ 406 h 406"/>
                <a:gd name="T2" fmla="*/ 488 w 705"/>
                <a:gd name="T3" fmla="*/ 406 h 406"/>
                <a:gd name="T4" fmla="*/ 705 w 705"/>
                <a:gd name="T5" fmla="*/ 0 h 406"/>
                <a:gd name="T6" fmla="*/ 260 w 705"/>
                <a:gd name="T7" fmla="*/ 0 h 406"/>
                <a:gd name="T8" fmla="*/ 0 w 705"/>
                <a:gd name="T9" fmla="*/ 202 h 406"/>
                <a:gd name="T10" fmla="*/ 260 w 705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5" h="406">
                  <a:moveTo>
                    <a:pt x="260" y="406"/>
                  </a:moveTo>
                  <a:lnTo>
                    <a:pt x="488" y="406"/>
                  </a:lnTo>
                  <a:lnTo>
                    <a:pt x="705" y="0"/>
                  </a:lnTo>
                  <a:lnTo>
                    <a:pt x="260" y="0"/>
                  </a:lnTo>
                  <a:lnTo>
                    <a:pt x="0" y="202"/>
                  </a:lnTo>
                  <a:lnTo>
                    <a:pt x="260" y="406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2"/>
            <p:cNvSpPr>
              <a:spLocks/>
            </p:cNvSpPr>
            <p:nvPr/>
          </p:nvSpPr>
          <p:spPr bwMode="auto">
            <a:xfrm>
              <a:off x="4488343" y="3600139"/>
              <a:ext cx="917252" cy="504141"/>
            </a:xfrm>
            <a:custGeom>
              <a:avLst/>
              <a:gdLst>
                <a:gd name="T0" fmla="*/ 655 w 655"/>
                <a:gd name="T1" fmla="*/ 0 h 360"/>
                <a:gd name="T2" fmla="*/ 230 w 655"/>
                <a:gd name="T3" fmla="*/ 0 h 360"/>
                <a:gd name="T4" fmla="*/ 0 w 655"/>
                <a:gd name="T5" fmla="*/ 179 h 360"/>
                <a:gd name="T6" fmla="*/ 230 w 655"/>
                <a:gd name="T7" fmla="*/ 360 h 360"/>
                <a:gd name="T8" fmla="*/ 462 w 655"/>
                <a:gd name="T9" fmla="*/ 360 h 360"/>
                <a:gd name="T10" fmla="*/ 655 w 655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5" h="360">
                  <a:moveTo>
                    <a:pt x="655" y="0"/>
                  </a:moveTo>
                  <a:lnTo>
                    <a:pt x="230" y="0"/>
                  </a:lnTo>
                  <a:lnTo>
                    <a:pt x="0" y="179"/>
                  </a:lnTo>
                  <a:lnTo>
                    <a:pt x="230" y="360"/>
                  </a:lnTo>
                  <a:lnTo>
                    <a:pt x="462" y="360"/>
                  </a:lnTo>
                  <a:lnTo>
                    <a:pt x="6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1"/>
            <p:cNvSpPr>
              <a:spLocks noEditPoints="1"/>
            </p:cNvSpPr>
            <p:nvPr/>
          </p:nvSpPr>
          <p:spPr bwMode="auto">
            <a:xfrm>
              <a:off x="4778222" y="3710770"/>
              <a:ext cx="141439" cy="246469"/>
            </a:xfrm>
            <a:custGeom>
              <a:avLst/>
              <a:gdLst>
                <a:gd name="T0" fmla="*/ 111 w 111"/>
                <a:gd name="T1" fmla="*/ 117 h 194"/>
                <a:gd name="T2" fmla="*/ 96 w 111"/>
                <a:gd name="T3" fmla="*/ 175 h 194"/>
                <a:gd name="T4" fmla="*/ 56 w 111"/>
                <a:gd name="T5" fmla="*/ 194 h 194"/>
                <a:gd name="T6" fmla="*/ 15 w 111"/>
                <a:gd name="T7" fmla="*/ 175 h 194"/>
                <a:gd name="T8" fmla="*/ 0 w 111"/>
                <a:gd name="T9" fmla="*/ 117 h 194"/>
                <a:gd name="T10" fmla="*/ 0 w 111"/>
                <a:gd name="T11" fmla="*/ 77 h 194"/>
                <a:gd name="T12" fmla="*/ 15 w 111"/>
                <a:gd name="T13" fmla="*/ 19 h 194"/>
                <a:gd name="T14" fmla="*/ 55 w 111"/>
                <a:gd name="T15" fmla="*/ 0 h 194"/>
                <a:gd name="T16" fmla="*/ 96 w 111"/>
                <a:gd name="T17" fmla="*/ 19 h 194"/>
                <a:gd name="T18" fmla="*/ 111 w 111"/>
                <a:gd name="T19" fmla="*/ 77 h 194"/>
                <a:gd name="T20" fmla="*/ 111 w 111"/>
                <a:gd name="T21" fmla="*/ 117 h 194"/>
                <a:gd name="T22" fmla="*/ 74 w 111"/>
                <a:gd name="T23" fmla="*/ 73 h 194"/>
                <a:gd name="T24" fmla="*/ 69 w 111"/>
                <a:gd name="T25" fmla="*/ 40 h 194"/>
                <a:gd name="T26" fmla="*/ 56 w 111"/>
                <a:gd name="T27" fmla="*/ 30 h 194"/>
                <a:gd name="T28" fmla="*/ 55 w 111"/>
                <a:gd name="T29" fmla="*/ 30 h 194"/>
                <a:gd name="T30" fmla="*/ 42 w 111"/>
                <a:gd name="T31" fmla="*/ 40 h 194"/>
                <a:gd name="T32" fmla="*/ 37 w 111"/>
                <a:gd name="T33" fmla="*/ 73 h 194"/>
                <a:gd name="T34" fmla="*/ 37 w 111"/>
                <a:gd name="T35" fmla="*/ 120 h 194"/>
                <a:gd name="T36" fmla="*/ 42 w 111"/>
                <a:gd name="T37" fmla="*/ 154 h 194"/>
                <a:gd name="T38" fmla="*/ 55 w 111"/>
                <a:gd name="T39" fmla="*/ 164 h 194"/>
                <a:gd name="T40" fmla="*/ 56 w 111"/>
                <a:gd name="T41" fmla="*/ 164 h 194"/>
                <a:gd name="T42" fmla="*/ 69 w 111"/>
                <a:gd name="T43" fmla="*/ 154 h 194"/>
                <a:gd name="T44" fmla="*/ 74 w 111"/>
                <a:gd name="T45" fmla="*/ 120 h 194"/>
                <a:gd name="T46" fmla="*/ 74 w 111"/>
                <a:gd name="T47" fmla="*/ 7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1" h="194">
                  <a:moveTo>
                    <a:pt x="111" y="117"/>
                  </a:moveTo>
                  <a:cubicBezTo>
                    <a:pt x="111" y="142"/>
                    <a:pt x="106" y="162"/>
                    <a:pt x="96" y="175"/>
                  </a:cubicBezTo>
                  <a:cubicBezTo>
                    <a:pt x="86" y="188"/>
                    <a:pt x="72" y="194"/>
                    <a:pt x="56" y="194"/>
                  </a:cubicBezTo>
                  <a:cubicBezTo>
                    <a:pt x="39" y="194"/>
                    <a:pt x="25" y="188"/>
                    <a:pt x="15" y="175"/>
                  </a:cubicBezTo>
                  <a:cubicBezTo>
                    <a:pt x="5" y="162"/>
                    <a:pt x="0" y="142"/>
                    <a:pt x="0" y="11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2"/>
                    <a:pt x="5" y="32"/>
                    <a:pt x="15" y="19"/>
                  </a:cubicBezTo>
                  <a:cubicBezTo>
                    <a:pt x="25" y="6"/>
                    <a:pt x="39" y="0"/>
                    <a:pt x="55" y="0"/>
                  </a:cubicBezTo>
                  <a:cubicBezTo>
                    <a:pt x="72" y="0"/>
                    <a:pt x="86" y="6"/>
                    <a:pt x="96" y="19"/>
                  </a:cubicBezTo>
                  <a:cubicBezTo>
                    <a:pt x="106" y="32"/>
                    <a:pt x="111" y="52"/>
                    <a:pt x="111" y="77"/>
                  </a:cubicBezTo>
                  <a:lnTo>
                    <a:pt x="111" y="117"/>
                  </a:lnTo>
                  <a:close/>
                  <a:moveTo>
                    <a:pt x="74" y="73"/>
                  </a:moveTo>
                  <a:cubicBezTo>
                    <a:pt x="74" y="58"/>
                    <a:pt x="72" y="47"/>
                    <a:pt x="69" y="40"/>
                  </a:cubicBezTo>
                  <a:cubicBezTo>
                    <a:pt x="66" y="33"/>
                    <a:pt x="61" y="30"/>
                    <a:pt x="56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49" y="30"/>
                    <a:pt x="45" y="33"/>
                    <a:pt x="42" y="40"/>
                  </a:cubicBezTo>
                  <a:cubicBezTo>
                    <a:pt x="39" y="47"/>
                    <a:pt x="37" y="58"/>
                    <a:pt x="37" y="73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7" y="136"/>
                    <a:pt x="39" y="147"/>
                    <a:pt x="42" y="154"/>
                  </a:cubicBezTo>
                  <a:cubicBezTo>
                    <a:pt x="45" y="161"/>
                    <a:pt x="49" y="164"/>
                    <a:pt x="55" y="164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62" y="164"/>
                    <a:pt x="66" y="161"/>
                    <a:pt x="69" y="154"/>
                  </a:cubicBezTo>
                  <a:cubicBezTo>
                    <a:pt x="72" y="147"/>
                    <a:pt x="74" y="136"/>
                    <a:pt x="74" y="120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42"/>
            <p:cNvSpPr>
              <a:spLocks/>
            </p:cNvSpPr>
            <p:nvPr/>
          </p:nvSpPr>
          <p:spPr bwMode="auto">
            <a:xfrm>
              <a:off x="4940667" y="3710770"/>
              <a:ext cx="145640" cy="246469"/>
            </a:xfrm>
            <a:custGeom>
              <a:avLst/>
              <a:gdLst>
                <a:gd name="T0" fmla="*/ 37 w 115"/>
                <a:gd name="T1" fmla="*/ 81 h 194"/>
                <a:gd name="T2" fmla="*/ 56 w 115"/>
                <a:gd name="T3" fmla="*/ 81 h 194"/>
                <a:gd name="T4" fmla="*/ 71 w 115"/>
                <a:gd name="T5" fmla="*/ 74 h 194"/>
                <a:gd name="T6" fmla="*/ 75 w 115"/>
                <a:gd name="T7" fmla="*/ 54 h 194"/>
                <a:gd name="T8" fmla="*/ 71 w 115"/>
                <a:gd name="T9" fmla="*/ 36 h 194"/>
                <a:gd name="T10" fmla="*/ 57 w 115"/>
                <a:gd name="T11" fmla="*/ 29 h 194"/>
                <a:gd name="T12" fmla="*/ 44 w 115"/>
                <a:gd name="T13" fmla="*/ 35 h 194"/>
                <a:gd name="T14" fmla="*/ 39 w 115"/>
                <a:gd name="T15" fmla="*/ 51 h 194"/>
                <a:gd name="T16" fmla="*/ 3 w 115"/>
                <a:gd name="T17" fmla="*/ 51 h 194"/>
                <a:gd name="T18" fmla="*/ 3 w 115"/>
                <a:gd name="T19" fmla="*/ 50 h 194"/>
                <a:gd name="T20" fmla="*/ 18 w 115"/>
                <a:gd name="T21" fmla="*/ 14 h 194"/>
                <a:gd name="T22" fmla="*/ 56 w 115"/>
                <a:gd name="T23" fmla="*/ 0 h 194"/>
                <a:gd name="T24" fmla="*/ 97 w 115"/>
                <a:gd name="T25" fmla="*/ 14 h 194"/>
                <a:gd name="T26" fmla="*/ 112 w 115"/>
                <a:gd name="T27" fmla="*/ 54 h 194"/>
                <a:gd name="T28" fmla="*/ 106 w 115"/>
                <a:gd name="T29" fmla="*/ 77 h 194"/>
                <a:gd name="T30" fmla="*/ 87 w 115"/>
                <a:gd name="T31" fmla="*/ 94 h 194"/>
                <a:gd name="T32" fmla="*/ 108 w 115"/>
                <a:gd name="T33" fmla="*/ 111 h 194"/>
                <a:gd name="T34" fmla="*/ 115 w 115"/>
                <a:gd name="T35" fmla="*/ 139 h 194"/>
                <a:gd name="T36" fmla="*/ 98 w 115"/>
                <a:gd name="T37" fmla="*/ 179 h 194"/>
                <a:gd name="T38" fmla="*/ 56 w 115"/>
                <a:gd name="T39" fmla="*/ 194 h 194"/>
                <a:gd name="T40" fmla="*/ 17 w 115"/>
                <a:gd name="T41" fmla="*/ 180 h 194"/>
                <a:gd name="T42" fmla="*/ 1 w 115"/>
                <a:gd name="T43" fmla="*/ 140 h 194"/>
                <a:gd name="T44" fmla="*/ 1 w 115"/>
                <a:gd name="T45" fmla="*/ 139 h 194"/>
                <a:gd name="T46" fmla="*/ 37 w 115"/>
                <a:gd name="T47" fmla="*/ 139 h 194"/>
                <a:gd name="T48" fmla="*/ 43 w 115"/>
                <a:gd name="T49" fmla="*/ 157 h 194"/>
                <a:gd name="T50" fmla="*/ 57 w 115"/>
                <a:gd name="T51" fmla="*/ 165 h 194"/>
                <a:gd name="T52" fmla="*/ 72 w 115"/>
                <a:gd name="T53" fmla="*/ 157 h 194"/>
                <a:gd name="T54" fmla="*/ 78 w 115"/>
                <a:gd name="T55" fmla="*/ 138 h 194"/>
                <a:gd name="T56" fmla="*/ 72 w 115"/>
                <a:gd name="T57" fmla="*/ 116 h 194"/>
                <a:gd name="T58" fmla="*/ 56 w 115"/>
                <a:gd name="T59" fmla="*/ 109 h 194"/>
                <a:gd name="T60" fmla="*/ 37 w 115"/>
                <a:gd name="T61" fmla="*/ 109 h 194"/>
                <a:gd name="T62" fmla="*/ 37 w 115"/>
                <a:gd name="T63" fmla="*/ 8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5" h="194">
                  <a:moveTo>
                    <a:pt x="37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62" y="81"/>
                    <a:pt x="67" y="78"/>
                    <a:pt x="71" y="74"/>
                  </a:cubicBezTo>
                  <a:cubicBezTo>
                    <a:pt x="74" y="69"/>
                    <a:pt x="75" y="62"/>
                    <a:pt x="75" y="54"/>
                  </a:cubicBezTo>
                  <a:cubicBezTo>
                    <a:pt x="75" y="47"/>
                    <a:pt x="74" y="41"/>
                    <a:pt x="71" y="36"/>
                  </a:cubicBezTo>
                  <a:cubicBezTo>
                    <a:pt x="67" y="31"/>
                    <a:pt x="63" y="29"/>
                    <a:pt x="57" y="29"/>
                  </a:cubicBezTo>
                  <a:cubicBezTo>
                    <a:pt x="52" y="29"/>
                    <a:pt x="48" y="31"/>
                    <a:pt x="44" y="35"/>
                  </a:cubicBezTo>
                  <a:cubicBezTo>
                    <a:pt x="41" y="39"/>
                    <a:pt x="39" y="45"/>
                    <a:pt x="39" y="51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3" y="36"/>
                    <a:pt x="8" y="23"/>
                    <a:pt x="18" y="14"/>
                  </a:cubicBezTo>
                  <a:cubicBezTo>
                    <a:pt x="28" y="4"/>
                    <a:pt x="41" y="0"/>
                    <a:pt x="56" y="0"/>
                  </a:cubicBezTo>
                  <a:cubicBezTo>
                    <a:pt x="73" y="0"/>
                    <a:pt x="87" y="4"/>
                    <a:pt x="97" y="14"/>
                  </a:cubicBezTo>
                  <a:cubicBezTo>
                    <a:pt x="107" y="23"/>
                    <a:pt x="112" y="36"/>
                    <a:pt x="112" y="54"/>
                  </a:cubicBezTo>
                  <a:cubicBezTo>
                    <a:pt x="112" y="62"/>
                    <a:pt x="110" y="70"/>
                    <a:pt x="106" y="77"/>
                  </a:cubicBezTo>
                  <a:cubicBezTo>
                    <a:pt x="101" y="85"/>
                    <a:pt x="95" y="90"/>
                    <a:pt x="87" y="94"/>
                  </a:cubicBezTo>
                  <a:cubicBezTo>
                    <a:pt x="96" y="98"/>
                    <a:pt x="103" y="104"/>
                    <a:pt x="108" y="111"/>
                  </a:cubicBezTo>
                  <a:cubicBezTo>
                    <a:pt x="112" y="119"/>
                    <a:pt x="115" y="128"/>
                    <a:pt x="115" y="139"/>
                  </a:cubicBezTo>
                  <a:cubicBezTo>
                    <a:pt x="115" y="156"/>
                    <a:pt x="109" y="169"/>
                    <a:pt x="98" y="179"/>
                  </a:cubicBezTo>
                  <a:cubicBezTo>
                    <a:pt x="87" y="189"/>
                    <a:pt x="73" y="194"/>
                    <a:pt x="56" y="194"/>
                  </a:cubicBezTo>
                  <a:cubicBezTo>
                    <a:pt x="41" y="194"/>
                    <a:pt x="27" y="189"/>
                    <a:pt x="17" y="180"/>
                  </a:cubicBezTo>
                  <a:cubicBezTo>
                    <a:pt x="6" y="171"/>
                    <a:pt x="0" y="158"/>
                    <a:pt x="1" y="140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37" y="147"/>
                    <a:pt x="39" y="153"/>
                    <a:pt x="43" y="157"/>
                  </a:cubicBezTo>
                  <a:cubicBezTo>
                    <a:pt x="46" y="162"/>
                    <a:pt x="51" y="165"/>
                    <a:pt x="57" y="165"/>
                  </a:cubicBezTo>
                  <a:cubicBezTo>
                    <a:pt x="63" y="165"/>
                    <a:pt x="68" y="162"/>
                    <a:pt x="72" y="157"/>
                  </a:cubicBezTo>
                  <a:cubicBezTo>
                    <a:pt x="76" y="153"/>
                    <a:pt x="78" y="146"/>
                    <a:pt x="78" y="138"/>
                  </a:cubicBezTo>
                  <a:cubicBezTo>
                    <a:pt x="78" y="128"/>
                    <a:pt x="76" y="121"/>
                    <a:pt x="72" y="116"/>
                  </a:cubicBezTo>
                  <a:cubicBezTo>
                    <a:pt x="69" y="112"/>
                    <a:pt x="63" y="109"/>
                    <a:pt x="56" y="109"/>
                  </a:cubicBezTo>
                  <a:cubicBezTo>
                    <a:pt x="37" y="109"/>
                    <a:pt x="37" y="109"/>
                    <a:pt x="37" y="109"/>
                  </a:cubicBezTo>
                  <a:lnTo>
                    <a:pt x="37" y="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58"/>
          <p:cNvGrpSpPr/>
          <p:nvPr/>
        </p:nvGrpSpPr>
        <p:grpSpPr>
          <a:xfrm>
            <a:off x="7213424" y="3450465"/>
            <a:ext cx="960664" cy="592366"/>
            <a:chOff x="6689747" y="2796314"/>
            <a:chExt cx="960664" cy="592366"/>
          </a:xfrm>
        </p:grpSpPr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6689747" y="2796314"/>
              <a:ext cx="960664" cy="592366"/>
            </a:xfrm>
            <a:custGeom>
              <a:avLst/>
              <a:gdLst>
                <a:gd name="T0" fmla="*/ 427 w 686"/>
                <a:gd name="T1" fmla="*/ 423 h 423"/>
                <a:gd name="T2" fmla="*/ 218 w 686"/>
                <a:gd name="T3" fmla="*/ 423 h 423"/>
                <a:gd name="T4" fmla="*/ 0 w 686"/>
                <a:gd name="T5" fmla="*/ 0 h 423"/>
                <a:gd name="T6" fmla="*/ 427 w 686"/>
                <a:gd name="T7" fmla="*/ 0 h 423"/>
                <a:gd name="T8" fmla="*/ 686 w 686"/>
                <a:gd name="T9" fmla="*/ 210 h 423"/>
                <a:gd name="T10" fmla="*/ 427 w 686"/>
                <a:gd name="T11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6" h="423">
                  <a:moveTo>
                    <a:pt x="427" y="423"/>
                  </a:moveTo>
                  <a:lnTo>
                    <a:pt x="218" y="423"/>
                  </a:lnTo>
                  <a:lnTo>
                    <a:pt x="0" y="0"/>
                  </a:lnTo>
                  <a:lnTo>
                    <a:pt x="427" y="0"/>
                  </a:lnTo>
                  <a:lnTo>
                    <a:pt x="686" y="210"/>
                  </a:lnTo>
                  <a:lnTo>
                    <a:pt x="427" y="423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"/>
            <p:cNvSpPr>
              <a:spLocks/>
            </p:cNvSpPr>
            <p:nvPr/>
          </p:nvSpPr>
          <p:spPr bwMode="auto">
            <a:xfrm>
              <a:off x="6706552" y="2829923"/>
              <a:ext cx="890645" cy="523747"/>
            </a:xfrm>
            <a:custGeom>
              <a:avLst/>
              <a:gdLst>
                <a:gd name="T0" fmla="*/ 0 w 636"/>
                <a:gd name="T1" fmla="*/ 0 h 374"/>
                <a:gd name="T2" fmla="*/ 407 w 636"/>
                <a:gd name="T3" fmla="*/ 0 h 374"/>
                <a:gd name="T4" fmla="*/ 636 w 636"/>
                <a:gd name="T5" fmla="*/ 186 h 374"/>
                <a:gd name="T6" fmla="*/ 407 w 636"/>
                <a:gd name="T7" fmla="*/ 374 h 374"/>
                <a:gd name="T8" fmla="*/ 192 w 636"/>
                <a:gd name="T9" fmla="*/ 374 h 374"/>
                <a:gd name="T10" fmla="*/ 0 w 636"/>
                <a:gd name="T11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6" h="374">
                  <a:moveTo>
                    <a:pt x="0" y="0"/>
                  </a:moveTo>
                  <a:lnTo>
                    <a:pt x="407" y="0"/>
                  </a:lnTo>
                  <a:lnTo>
                    <a:pt x="636" y="186"/>
                  </a:lnTo>
                  <a:lnTo>
                    <a:pt x="407" y="374"/>
                  </a:lnTo>
                  <a:lnTo>
                    <a:pt x="192" y="3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6951619" y="2975564"/>
              <a:ext cx="140038" cy="247869"/>
            </a:xfrm>
            <a:custGeom>
              <a:avLst/>
              <a:gdLst>
                <a:gd name="T0" fmla="*/ 110 w 110"/>
                <a:gd name="T1" fmla="*/ 118 h 195"/>
                <a:gd name="T2" fmla="*/ 95 w 110"/>
                <a:gd name="T3" fmla="*/ 175 h 195"/>
                <a:gd name="T4" fmla="*/ 55 w 110"/>
                <a:gd name="T5" fmla="*/ 195 h 195"/>
                <a:gd name="T6" fmla="*/ 15 w 110"/>
                <a:gd name="T7" fmla="*/ 175 h 195"/>
                <a:gd name="T8" fmla="*/ 0 w 110"/>
                <a:gd name="T9" fmla="*/ 118 h 195"/>
                <a:gd name="T10" fmla="*/ 0 w 110"/>
                <a:gd name="T11" fmla="*/ 77 h 195"/>
                <a:gd name="T12" fmla="*/ 15 w 110"/>
                <a:gd name="T13" fmla="*/ 20 h 195"/>
                <a:gd name="T14" fmla="*/ 55 w 110"/>
                <a:gd name="T15" fmla="*/ 0 h 195"/>
                <a:gd name="T16" fmla="*/ 95 w 110"/>
                <a:gd name="T17" fmla="*/ 20 h 195"/>
                <a:gd name="T18" fmla="*/ 110 w 110"/>
                <a:gd name="T19" fmla="*/ 77 h 195"/>
                <a:gd name="T20" fmla="*/ 110 w 110"/>
                <a:gd name="T21" fmla="*/ 118 h 195"/>
                <a:gd name="T22" fmla="*/ 73 w 110"/>
                <a:gd name="T23" fmla="*/ 74 h 195"/>
                <a:gd name="T24" fmla="*/ 69 w 110"/>
                <a:gd name="T25" fmla="*/ 41 h 195"/>
                <a:gd name="T26" fmla="*/ 55 w 110"/>
                <a:gd name="T27" fmla="*/ 31 h 195"/>
                <a:gd name="T28" fmla="*/ 54 w 110"/>
                <a:gd name="T29" fmla="*/ 31 h 195"/>
                <a:gd name="T30" fmla="*/ 41 w 110"/>
                <a:gd name="T31" fmla="*/ 41 h 195"/>
                <a:gd name="T32" fmla="*/ 36 w 110"/>
                <a:gd name="T33" fmla="*/ 74 h 195"/>
                <a:gd name="T34" fmla="*/ 36 w 110"/>
                <a:gd name="T35" fmla="*/ 121 h 195"/>
                <a:gd name="T36" fmla="*/ 41 w 110"/>
                <a:gd name="T37" fmla="*/ 155 h 195"/>
                <a:gd name="T38" fmla="*/ 55 w 110"/>
                <a:gd name="T39" fmla="*/ 164 h 195"/>
                <a:gd name="T40" fmla="*/ 55 w 110"/>
                <a:gd name="T41" fmla="*/ 164 h 195"/>
                <a:gd name="T42" fmla="*/ 69 w 110"/>
                <a:gd name="T43" fmla="*/ 155 h 195"/>
                <a:gd name="T44" fmla="*/ 73 w 110"/>
                <a:gd name="T45" fmla="*/ 121 h 195"/>
                <a:gd name="T46" fmla="*/ 73 w 110"/>
                <a:gd name="T47" fmla="*/ 7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95">
                  <a:moveTo>
                    <a:pt x="110" y="118"/>
                  </a:moveTo>
                  <a:cubicBezTo>
                    <a:pt x="110" y="143"/>
                    <a:pt x="105" y="162"/>
                    <a:pt x="95" y="175"/>
                  </a:cubicBezTo>
                  <a:cubicBezTo>
                    <a:pt x="85" y="188"/>
                    <a:pt x="72" y="195"/>
                    <a:pt x="55" y="195"/>
                  </a:cubicBezTo>
                  <a:cubicBezTo>
                    <a:pt x="38" y="195"/>
                    <a:pt x="25" y="188"/>
                    <a:pt x="15" y="175"/>
                  </a:cubicBezTo>
                  <a:cubicBezTo>
                    <a:pt x="5" y="162"/>
                    <a:pt x="0" y="143"/>
                    <a:pt x="0" y="118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2"/>
                    <a:pt x="5" y="33"/>
                    <a:pt x="15" y="20"/>
                  </a:cubicBezTo>
                  <a:cubicBezTo>
                    <a:pt x="25" y="7"/>
                    <a:pt x="38" y="0"/>
                    <a:pt x="55" y="0"/>
                  </a:cubicBezTo>
                  <a:cubicBezTo>
                    <a:pt x="72" y="0"/>
                    <a:pt x="85" y="7"/>
                    <a:pt x="95" y="20"/>
                  </a:cubicBezTo>
                  <a:cubicBezTo>
                    <a:pt x="105" y="33"/>
                    <a:pt x="110" y="52"/>
                    <a:pt x="110" y="77"/>
                  </a:cubicBezTo>
                  <a:lnTo>
                    <a:pt x="110" y="118"/>
                  </a:lnTo>
                  <a:close/>
                  <a:moveTo>
                    <a:pt x="73" y="74"/>
                  </a:moveTo>
                  <a:cubicBezTo>
                    <a:pt x="73" y="59"/>
                    <a:pt x="72" y="48"/>
                    <a:pt x="69" y="41"/>
                  </a:cubicBezTo>
                  <a:cubicBezTo>
                    <a:pt x="65" y="34"/>
                    <a:pt x="61" y="30"/>
                    <a:pt x="55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49" y="30"/>
                    <a:pt x="44" y="34"/>
                    <a:pt x="41" y="41"/>
                  </a:cubicBezTo>
                  <a:cubicBezTo>
                    <a:pt x="38" y="48"/>
                    <a:pt x="36" y="59"/>
                    <a:pt x="36" y="74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36"/>
                    <a:pt x="38" y="148"/>
                    <a:pt x="41" y="155"/>
                  </a:cubicBezTo>
                  <a:cubicBezTo>
                    <a:pt x="44" y="162"/>
                    <a:pt x="49" y="165"/>
                    <a:pt x="55" y="164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61" y="165"/>
                    <a:pt x="66" y="162"/>
                    <a:pt x="69" y="155"/>
                  </a:cubicBezTo>
                  <a:cubicBezTo>
                    <a:pt x="72" y="148"/>
                    <a:pt x="73" y="136"/>
                    <a:pt x="73" y="121"/>
                  </a:cubicBezTo>
                  <a:lnTo>
                    <a:pt x="73" y="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7114064" y="2979765"/>
              <a:ext cx="148441" cy="239467"/>
            </a:xfrm>
            <a:custGeom>
              <a:avLst/>
              <a:gdLst>
                <a:gd name="T0" fmla="*/ 92 w 106"/>
                <a:gd name="T1" fmla="*/ 107 h 171"/>
                <a:gd name="T2" fmla="*/ 106 w 106"/>
                <a:gd name="T3" fmla="*/ 107 h 171"/>
                <a:gd name="T4" fmla="*/ 106 w 106"/>
                <a:gd name="T5" fmla="*/ 134 h 171"/>
                <a:gd name="T6" fmla="*/ 92 w 106"/>
                <a:gd name="T7" fmla="*/ 134 h 171"/>
                <a:gd name="T8" fmla="*/ 92 w 106"/>
                <a:gd name="T9" fmla="*/ 171 h 171"/>
                <a:gd name="T10" fmla="*/ 58 w 106"/>
                <a:gd name="T11" fmla="*/ 171 h 171"/>
                <a:gd name="T12" fmla="*/ 58 w 106"/>
                <a:gd name="T13" fmla="*/ 134 h 171"/>
                <a:gd name="T14" fmla="*/ 2 w 106"/>
                <a:gd name="T15" fmla="*/ 134 h 171"/>
                <a:gd name="T16" fmla="*/ 0 w 106"/>
                <a:gd name="T17" fmla="*/ 113 h 171"/>
                <a:gd name="T18" fmla="*/ 58 w 106"/>
                <a:gd name="T19" fmla="*/ 0 h 171"/>
                <a:gd name="T20" fmla="*/ 92 w 106"/>
                <a:gd name="T21" fmla="*/ 0 h 171"/>
                <a:gd name="T22" fmla="*/ 92 w 106"/>
                <a:gd name="T23" fmla="*/ 107 h 171"/>
                <a:gd name="T24" fmla="*/ 30 w 106"/>
                <a:gd name="T25" fmla="*/ 107 h 171"/>
                <a:gd name="T26" fmla="*/ 58 w 106"/>
                <a:gd name="T27" fmla="*/ 107 h 171"/>
                <a:gd name="T28" fmla="*/ 58 w 106"/>
                <a:gd name="T29" fmla="*/ 48 h 171"/>
                <a:gd name="T30" fmla="*/ 58 w 106"/>
                <a:gd name="T31" fmla="*/ 48 h 171"/>
                <a:gd name="T32" fmla="*/ 56 w 106"/>
                <a:gd name="T33" fmla="*/ 51 h 171"/>
                <a:gd name="T34" fmla="*/ 30 w 106"/>
                <a:gd name="T35" fmla="*/ 10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71">
                  <a:moveTo>
                    <a:pt x="92" y="107"/>
                  </a:moveTo>
                  <a:lnTo>
                    <a:pt x="106" y="107"/>
                  </a:lnTo>
                  <a:lnTo>
                    <a:pt x="106" y="134"/>
                  </a:lnTo>
                  <a:lnTo>
                    <a:pt x="92" y="134"/>
                  </a:lnTo>
                  <a:lnTo>
                    <a:pt x="92" y="171"/>
                  </a:lnTo>
                  <a:lnTo>
                    <a:pt x="58" y="171"/>
                  </a:lnTo>
                  <a:lnTo>
                    <a:pt x="58" y="134"/>
                  </a:lnTo>
                  <a:lnTo>
                    <a:pt x="2" y="134"/>
                  </a:lnTo>
                  <a:lnTo>
                    <a:pt x="0" y="113"/>
                  </a:lnTo>
                  <a:lnTo>
                    <a:pt x="58" y="0"/>
                  </a:lnTo>
                  <a:lnTo>
                    <a:pt x="92" y="0"/>
                  </a:lnTo>
                  <a:lnTo>
                    <a:pt x="92" y="107"/>
                  </a:lnTo>
                  <a:close/>
                  <a:moveTo>
                    <a:pt x="30" y="107"/>
                  </a:moveTo>
                  <a:lnTo>
                    <a:pt x="58" y="107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6" y="51"/>
                  </a:lnTo>
                  <a:lnTo>
                    <a:pt x="30" y="1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60"/>
          <p:cNvGrpSpPr/>
          <p:nvPr/>
        </p:nvGrpSpPr>
        <p:grpSpPr>
          <a:xfrm>
            <a:off x="5673001" y="2669046"/>
            <a:ext cx="1054490" cy="642780"/>
            <a:chOff x="5149324" y="2014895"/>
            <a:chExt cx="1054490" cy="642780"/>
          </a:xfrm>
        </p:grpSpPr>
        <p:sp>
          <p:nvSpPr>
            <p:cNvPr id="91" name="Freeform 5"/>
            <p:cNvSpPr>
              <a:spLocks/>
            </p:cNvSpPr>
            <p:nvPr/>
          </p:nvSpPr>
          <p:spPr bwMode="auto">
            <a:xfrm>
              <a:off x="5149324" y="2014895"/>
              <a:ext cx="1054490" cy="642780"/>
            </a:xfrm>
            <a:custGeom>
              <a:avLst/>
              <a:gdLst>
                <a:gd name="T0" fmla="*/ 278 w 753"/>
                <a:gd name="T1" fmla="*/ 459 h 459"/>
                <a:gd name="T2" fmla="*/ 475 w 753"/>
                <a:gd name="T3" fmla="*/ 459 h 459"/>
                <a:gd name="T4" fmla="*/ 753 w 753"/>
                <a:gd name="T5" fmla="*/ 0 h 459"/>
                <a:gd name="T6" fmla="*/ 278 w 753"/>
                <a:gd name="T7" fmla="*/ 0 h 459"/>
                <a:gd name="T8" fmla="*/ 0 w 753"/>
                <a:gd name="T9" fmla="*/ 214 h 459"/>
                <a:gd name="T10" fmla="*/ 278 w 753"/>
                <a:gd name="T1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3" h="459">
                  <a:moveTo>
                    <a:pt x="278" y="459"/>
                  </a:moveTo>
                  <a:lnTo>
                    <a:pt x="475" y="459"/>
                  </a:lnTo>
                  <a:lnTo>
                    <a:pt x="753" y="0"/>
                  </a:lnTo>
                  <a:lnTo>
                    <a:pt x="278" y="0"/>
                  </a:lnTo>
                  <a:lnTo>
                    <a:pt x="0" y="214"/>
                  </a:lnTo>
                  <a:lnTo>
                    <a:pt x="278" y="459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6"/>
            <p:cNvSpPr>
              <a:spLocks/>
            </p:cNvSpPr>
            <p:nvPr/>
          </p:nvSpPr>
          <p:spPr bwMode="auto">
            <a:xfrm>
              <a:off x="5199738" y="2044303"/>
              <a:ext cx="985871" cy="585364"/>
            </a:xfrm>
            <a:custGeom>
              <a:avLst/>
              <a:gdLst>
                <a:gd name="T0" fmla="*/ 252 w 704"/>
                <a:gd name="T1" fmla="*/ 418 h 418"/>
                <a:gd name="T2" fmla="*/ 0 w 704"/>
                <a:gd name="T3" fmla="*/ 194 h 418"/>
                <a:gd name="T4" fmla="*/ 251 w 704"/>
                <a:gd name="T5" fmla="*/ 0 h 418"/>
                <a:gd name="T6" fmla="*/ 704 w 704"/>
                <a:gd name="T7" fmla="*/ 0 h 418"/>
                <a:gd name="T8" fmla="*/ 452 w 704"/>
                <a:gd name="T9" fmla="*/ 418 h 418"/>
                <a:gd name="T10" fmla="*/ 252 w 704"/>
                <a:gd name="T11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4" h="418">
                  <a:moveTo>
                    <a:pt x="252" y="418"/>
                  </a:moveTo>
                  <a:lnTo>
                    <a:pt x="0" y="194"/>
                  </a:lnTo>
                  <a:lnTo>
                    <a:pt x="251" y="0"/>
                  </a:lnTo>
                  <a:lnTo>
                    <a:pt x="704" y="0"/>
                  </a:lnTo>
                  <a:lnTo>
                    <a:pt x="452" y="418"/>
                  </a:lnTo>
                  <a:lnTo>
                    <a:pt x="252" y="41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45"/>
            <p:cNvSpPr>
              <a:spLocks noEditPoints="1"/>
            </p:cNvSpPr>
            <p:nvPr/>
          </p:nvSpPr>
          <p:spPr bwMode="auto">
            <a:xfrm>
              <a:off x="5506422" y="2196946"/>
              <a:ext cx="141439" cy="247869"/>
            </a:xfrm>
            <a:custGeom>
              <a:avLst/>
              <a:gdLst>
                <a:gd name="T0" fmla="*/ 111 w 111"/>
                <a:gd name="T1" fmla="*/ 118 h 195"/>
                <a:gd name="T2" fmla="*/ 96 w 111"/>
                <a:gd name="T3" fmla="*/ 175 h 195"/>
                <a:gd name="T4" fmla="*/ 55 w 111"/>
                <a:gd name="T5" fmla="*/ 195 h 195"/>
                <a:gd name="T6" fmla="*/ 15 w 111"/>
                <a:gd name="T7" fmla="*/ 175 h 195"/>
                <a:gd name="T8" fmla="*/ 0 w 111"/>
                <a:gd name="T9" fmla="*/ 118 h 195"/>
                <a:gd name="T10" fmla="*/ 0 w 111"/>
                <a:gd name="T11" fmla="*/ 77 h 195"/>
                <a:gd name="T12" fmla="*/ 15 w 111"/>
                <a:gd name="T13" fmla="*/ 20 h 195"/>
                <a:gd name="T14" fmla="*/ 55 w 111"/>
                <a:gd name="T15" fmla="*/ 0 h 195"/>
                <a:gd name="T16" fmla="*/ 96 w 111"/>
                <a:gd name="T17" fmla="*/ 20 h 195"/>
                <a:gd name="T18" fmla="*/ 111 w 111"/>
                <a:gd name="T19" fmla="*/ 77 h 195"/>
                <a:gd name="T20" fmla="*/ 111 w 111"/>
                <a:gd name="T21" fmla="*/ 118 h 195"/>
                <a:gd name="T22" fmla="*/ 74 w 111"/>
                <a:gd name="T23" fmla="*/ 74 h 195"/>
                <a:gd name="T24" fmla="*/ 69 w 111"/>
                <a:gd name="T25" fmla="*/ 41 h 195"/>
                <a:gd name="T26" fmla="*/ 56 w 111"/>
                <a:gd name="T27" fmla="*/ 31 h 195"/>
                <a:gd name="T28" fmla="*/ 55 w 111"/>
                <a:gd name="T29" fmla="*/ 31 h 195"/>
                <a:gd name="T30" fmla="*/ 41 w 111"/>
                <a:gd name="T31" fmla="*/ 41 h 195"/>
                <a:gd name="T32" fmla="*/ 37 w 111"/>
                <a:gd name="T33" fmla="*/ 74 h 195"/>
                <a:gd name="T34" fmla="*/ 37 w 111"/>
                <a:gd name="T35" fmla="*/ 121 h 195"/>
                <a:gd name="T36" fmla="*/ 42 w 111"/>
                <a:gd name="T37" fmla="*/ 154 h 195"/>
                <a:gd name="T38" fmla="*/ 55 w 111"/>
                <a:gd name="T39" fmla="*/ 164 h 195"/>
                <a:gd name="T40" fmla="*/ 56 w 111"/>
                <a:gd name="T41" fmla="*/ 164 h 195"/>
                <a:gd name="T42" fmla="*/ 69 w 111"/>
                <a:gd name="T43" fmla="*/ 155 h 195"/>
                <a:gd name="T44" fmla="*/ 74 w 111"/>
                <a:gd name="T45" fmla="*/ 121 h 195"/>
                <a:gd name="T46" fmla="*/ 74 w 111"/>
                <a:gd name="T47" fmla="*/ 7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1" h="195">
                  <a:moveTo>
                    <a:pt x="111" y="118"/>
                  </a:moveTo>
                  <a:cubicBezTo>
                    <a:pt x="111" y="143"/>
                    <a:pt x="106" y="162"/>
                    <a:pt x="96" y="175"/>
                  </a:cubicBezTo>
                  <a:cubicBezTo>
                    <a:pt x="86" y="188"/>
                    <a:pt x="72" y="195"/>
                    <a:pt x="55" y="195"/>
                  </a:cubicBezTo>
                  <a:cubicBezTo>
                    <a:pt x="39" y="195"/>
                    <a:pt x="25" y="188"/>
                    <a:pt x="15" y="175"/>
                  </a:cubicBezTo>
                  <a:cubicBezTo>
                    <a:pt x="5" y="162"/>
                    <a:pt x="0" y="143"/>
                    <a:pt x="0" y="118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2"/>
                    <a:pt x="5" y="33"/>
                    <a:pt x="15" y="20"/>
                  </a:cubicBezTo>
                  <a:cubicBezTo>
                    <a:pt x="25" y="7"/>
                    <a:pt x="38" y="0"/>
                    <a:pt x="55" y="0"/>
                  </a:cubicBezTo>
                  <a:cubicBezTo>
                    <a:pt x="72" y="0"/>
                    <a:pt x="86" y="7"/>
                    <a:pt x="96" y="20"/>
                  </a:cubicBezTo>
                  <a:cubicBezTo>
                    <a:pt x="106" y="33"/>
                    <a:pt x="111" y="52"/>
                    <a:pt x="111" y="77"/>
                  </a:cubicBezTo>
                  <a:lnTo>
                    <a:pt x="111" y="118"/>
                  </a:lnTo>
                  <a:close/>
                  <a:moveTo>
                    <a:pt x="74" y="74"/>
                  </a:moveTo>
                  <a:cubicBezTo>
                    <a:pt x="74" y="59"/>
                    <a:pt x="72" y="48"/>
                    <a:pt x="69" y="41"/>
                  </a:cubicBezTo>
                  <a:cubicBezTo>
                    <a:pt x="66" y="34"/>
                    <a:pt x="61" y="30"/>
                    <a:pt x="56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49" y="30"/>
                    <a:pt x="45" y="34"/>
                    <a:pt x="41" y="41"/>
                  </a:cubicBezTo>
                  <a:cubicBezTo>
                    <a:pt x="38" y="48"/>
                    <a:pt x="37" y="59"/>
                    <a:pt x="37" y="74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36"/>
                    <a:pt x="38" y="147"/>
                    <a:pt x="42" y="154"/>
                  </a:cubicBezTo>
                  <a:cubicBezTo>
                    <a:pt x="45" y="162"/>
                    <a:pt x="49" y="165"/>
                    <a:pt x="55" y="164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62" y="165"/>
                    <a:pt x="66" y="162"/>
                    <a:pt x="69" y="155"/>
                  </a:cubicBezTo>
                  <a:cubicBezTo>
                    <a:pt x="72" y="148"/>
                    <a:pt x="74" y="136"/>
                    <a:pt x="74" y="121"/>
                  </a:cubicBezTo>
                  <a:lnTo>
                    <a:pt x="74" y="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46"/>
            <p:cNvSpPr>
              <a:spLocks/>
            </p:cNvSpPr>
            <p:nvPr/>
          </p:nvSpPr>
          <p:spPr bwMode="auto">
            <a:xfrm>
              <a:off x="5674468" y="2201147"/>
              <a:ext cx="140038" cy="243668"/>
            </a:xfrm>
            <a:custGeom>
              <a:avLst/>
              <a:gdLst>
                <a:gd name="T0" fmla="*/ 3 w 111"/>
                <a:gd name="T1" fmla="*/ 105 h 192"/>
                <a:gd name="T2" fmla="*/ 13 w 111"/>
                <a:gd name="T3" fmla="*/ 0 h 192"/>
                <a:gd name="T4" fmla="*/ 105 w 111"/>
                <a:gd name="T5" fmla="*/ 0 h 192"/>
                <a:gd name="T6" fmla="*/ 105 w 111"/>
                <a:gd name="T7" fmla="*/ 30 h 192"/>
                <a:gd name="T8" fmla="*/ 43 w 111"/>
                <a:gd name="T9" fmla="*/ 30 h 192"/>
                <a:gd name="T10" fmla="*/ 39 w 111"/>
                <a:gd name="T11" fmla="*/ 75 h 192"/>
                <a:gd name="T12" fmla="*/ 49 w 111"/>
                <a:gd name="T13" fmla="*/ 68 h 192"/>
                <a:gd name="T14" fmla="*/ 62 w 111"/>
                <a:gd name="T15" fmla="*/ 65 h 192"/>
                <a:gd name="T16" fmla="*/ 98 w 111"/>
                <a:gd name="T17" fmla="*/ 81 h 192"/>
                <a:gd name="T18" fmla="*/ 111 w 111"/>
                <a:gd name="T19" fmla="*/ 128 h 192"/>
                <a:gd name="T20" fmla="*/ 96 w 111"/>
                <a:gd name="T21" fmla="*/ 173 h 192"/>
                <a:gd name="T22" fmla="*/ 55 w 111"/>
                <a:gd name="T23" fmla="*/ 192 h 192"/>
                <a:gd name="T24" fmla="*/ 16 w 111"/>
                <a:gd name="T25" fmla="*/ 177 h 192"/>
                <a:gd name="T26" fmla="*/ 0 w 111"/>
                <a:gd name="T27" fmla="*/ 138 h 192"/>
                <a:gd name="T28" fmla="*/ 1 w 111"/>
                <a:gd name="T29" fmla="*/ 137 h 192"/>
                <a:gd name="T30" fmla="*/ 36 w 111"/>
                <a:gd name="T31" fmla="*/ 135 h 192"/>
                <a:gd name="T32" fmla="*/ 42 w 111"/>
                <a:gd name="T33" fmla="*/ 155 h 192"/>
                <a:gd name="T34" fmla="*/ 55 w 111"/>
                <a:gd name="T35" fmla="*/ 162 h 192"/>
                <a:gd name="T36" fmla="*/ 69 w 111"/>
                <a:gd name="T37" fmla="*/ 153 h 192"/>
                <a:gd name="T38" fmla="*/ 74 w 111"/>
                <a:gd name="T39" fmla="*/ 129 h 192"/>
                <a:gd name="T40" fmla="*/ 69 w 111"/>
                <a:gd name="T41" fmla="*/ 102 h 192"/>
                <a:gd name="T42" fmla="*/ 54 w 111"/>
                <a:gd name="T43" fmla="*/ 92 h 192"/>
                <a:gd name="T44" fmla="*/ 42 w 111"/>
                <a:gd name="T45" fmla="*/ 96 h 192"/>
                <a:gd name="T46" fmla="*/ 36 w 111"/>
                <a:gd name="T47" fmla="*/ 108 h 192"/>
                <a:gd name="T48" fmla="*/ 3 w 111"/>
                <a:gd name="T49" fmla="*/ 10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" h="192">
                  <a:moveTo>
                    <a:pt x="3" y="105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30"/>
                    <a:pt x="105" y="30"/>
                    <a:pt x="105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42" y="72"/>
                    <a:pt x="45" y="70"/>
                    <a:pt x="49" y="68"/>
                  </a:cubicBezTo>
                  <a:cubicBezTo>
                    <a:pt x="53" y="66"/>
                    <a:pt x="57" y="65"/>
                    <a:pt x="62" y="65"/>
                  </a:cubicBezTo>
                  <a:cubicBezTo>
                    <a:pt x="77" y="65"/>
                    <a:pt x="89" y="70"/>
                    <a:pt x="98" y="81"/>
                  </a:cubicBezTo>
                  <a:cubicBezTo>
                    <a:pt x="106" y="92"/>
                    <a:pt x="111" y="108"/>
                    <a:pt x="111" y="128"/>
                  </a:cubicBezTo>
                  <a:cubicBezTo>
                    <a:pt x="111" y="146"/>
                    <a:pt x="106" y="161"/>
                    <a:pt x="96" y="173"/>
                  </a:cubicBezTo>
                  <a:cubicBezTo>
                    <a:pt x="87" y="186"/>
                    <a:pt x="73" y="192"/>
                    <a:pt x="55" y="192"/>
                  </a:cubicBezTo>
                  <a:cubicBezTo>
                    <a:pt x="40" y="192"/>
                    <a:pt x="27" y="187"/>
                    <a:pt x="16" y="177"/>
                  </a:cubicBezTo>
                  <a:cubicBezTo>
                    <a:pt x="5" y="168"/>
                    <a:pt x="0" y="154"/>
                    <a:pt x="0" y="138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44"/>
                    <a:pt x="38" y="150"/>
                    <a:pt x="42" y="155"/>
                  </a:cubicBezTo>
                  <a:cubicBezTo>
                    <a:pt x="45" y="160"/>
                    <a:pt x="50" y="162"/>
                    <a:pt x="55" y="162"/>
                  </a:cubicBezTo>
                  <a:cubicBezTo>
                    <a:pt x="62" y="162"/>
                    <a:pt x="66" y="159"/>
                    <a:pt x="69" y="153"/>
                  </a:cubicBezTo>
                  <a:cubicBezTo>
                    <a:pt x="72" y="147"/>
                    <a:pt x="74" y="139"/>
                    <a:pt x="74" y="129"/>
                  </a:cubicBezTo>
                  <a:cubicBezTo>
                    <a:pt x="74" y="117"/>
                    <a:pt x="72" y="109"/>
                    <a:pt x="69" y="102"/>
                  </a:cubicBezTo>
                  <a:cubicBezTo>
                    <a:pt x="66" y="96"/>
                    <a:pt x="61" y="92"/>
                    <a:pt x="54" y="92"/>
                  </a:cubicBezTo>
                  <a:cubicBezTo>
                    <a:pt x="49" y="92"/>
                    <a:pt x="45" y="94"/>
                    <a:pt x="42" y="96"/>
                  </a:cubicBezTo>
                  <a:cubicBezTo>
                    <a:pt x="39" y="99"/>
                    <a:pt x="37" y="103"/>
                    <a:pt x="36" y="108"/>
                  </a:cubicBezTo>
                  <a:lnTo>
                    <a:pt x="3" y="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56"/>
          <p:cNvGrpSpPr/>
          <p:nvPr/>
        </p:nvGrpSpPr>
        <p:grpSpPr>
          <a:xfrm>
            <a:off x="7965431" y="4985295"/>
            <a:ext cx="1013878" cy="614772"/>
            <a:chOff x="7441754" y="4331144"/>
            <a:chExt cx="1013878" cy="614772"/>
          </a:xfrm>
        </p:grpSpPr>
        <p:sp>
          <p:nvSpPr>
            <p:cNvPr id="96" name="Freeform 9"/>
            <p:cNvSpPr>
              <a:spLocks/>
            </p:cNvSpPr>
            <p:nvPr/>
          </p:nvSpPr>
          <p:spPr bwMode="auto">
            <a:xfrm>
              <a:off x="7441754" y="4331144"/>
              <a:ext cx="1013878" cy="614772"/>
            </a:xfrm>
            <a:custGeom>
              <a:avLst/>
              <a:gdLst>
                <a:gd name="T0" fmla="*/ 465 w 724"/>
                <a:gd name="T1" fmla="*/ 438 h 439"/>
                <a:gd name="T2" fmla="*/ 218 w 724"/>
                <a:gd name="T3" fmla="*/ 439 h 439"/>
                <a:gd name="T4" fmla="*/ 0 w 724"/>
                <a:gd name="T5" fmla="*/ 0 h 439"/>
                <a:gd name="T6" fmla="*/ 465 w 724"/>
                <a:gd name="T7" fmla="*/ 0 h 439"/>
                <a:gd name="T8" fmla="*/ 724 w 724"/>
                <a:gd name="T9" fmla="*/ 217 h 439"/>
                <a:gd name="T10" fmla="*/ 465 w 724"/>
                <a:gd name="T11" fmla="*/ 438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4" h="439">
                  <a:moveTo>
                    <a:pt x="465" y="438"/>
                  </a:moveTo>
                  <a:lnTo>
                    <a:pt x="218" y="439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724" y="217"/>
                  </a:lnTo>
                  <a:lnTo>
                    <a:pt x="465" y="43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0"/>
            <p:cNvSpPr>
              <a:spLocks/>
            </p:cNvSpPr>
            <p:nvPr/>
          </p:nvSpPr>
          <p:spPr bwMode="auto">
            <a:xfrm>
              <a:off x="7459959" y="4366153"/>
              <a:ext cx="942459" cy="543352"/>
            </a:xfrm>
            <a:custGeom>
              <a:avLst/>
              <a:gdLst>
                <a:gd name="T0" fmla="*/ 0 w 673"/>
                <a:gd name="T1" fmla="*/ 0 h 388"/>
                <a:gd name="T2" fmla="*/ 444 w 673"/>
                <a:gd name="T3" fmla="*/ 0 h 388"/>
                <a:gd name="T4" fmla="*/ 673 w 673"/>
                <a:gd name="T5" fmla="*/ 193 h 388"/>
                <a:gd name="T6" fmla="*/ 444 w 673"/>
                <a:gd name="T7" fmla="*/ 388 h 388"/>
                <a:gd name="T8" fmla="*/ 192 w 673"/>
                <a:gd name="T9" fmla="*/ 388 h 388"/>
                <a:gd name="T10" fmla="*/ 0 w 673"/>
                <a:gd name="T11" fmla="*/ 0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3" h="388">
                  <a:moveTo>
                    <a:pt x="0" y="0"/>
                  </a:moveTo>
                  <a:lnTo>
                    <a:pt x="444" y="0"/>
                  </a:lnTo>
                  <a:lnTo>
                    <a:pt x="673" y="193"/>
                  </a:lnTo>
                  <a:lnTo>
                    <a:pt x="444" y="388"/>
                  </a:lnTo>
                  <a:lnTo>
                    <a:pt x="192" y="3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47"/>
            <p:cNvSpPr>
              <a:spLocks noEditPoints="1"/>
            </p:cNvSpPr>
            <p:nvPr/>
          </p:nvSpPr>
          <p:spPr bwMode="auto">
            <a:xfrm>
              <a:off x="7756840" y="4501991"/>
              <a:ext cx="140038" cy="246469"/>
            </a:xfrm>
            <a:custGeom>
              <a:avLst/>
              <a:gdLst>
                <a:gd name="T0" fmla="*/ 111 w 111"/>
                <a:gd name="T1" fmla="*/ 117 h 194"/>
                <a:gd name="T2" fmla="*/ 96 w 111"/>
                <a:gd name="T3" fmla="*/ 175 h 194"/>
                <a:gd name="T4" fmla="*/ 56 w 111"/>
                <a:gd name="T5" fmla="*/ 194 h 194"/>
                <a:gd name="T6" fmla="*/ 15 w 111"/>
                <a:gd name="T7" fmla="*/ 175 h 194"/>
                <a:gd name="T8" fmla="*/ 0 w 111"/>
                <a:gd name="T9" fmla="*/ 117 h 194"/>
                <a:gd name="T10" fmla="*/ 0 w 111"/>
                <a:gd name="T11" fmla="*/ 77 h 194"/>
                <a:gd name="T12" fmla="*/ 15 w 111"/>
                <a:gd name="T13" fmla="*/ 19 h 194"/>
                <a:gd name="T14" fmla="*/ 55 w 111"/>
                <a:gd name="T15" fmla="*/ 0 h 194"/>
                <a:gd name="T16" fmla="*/ 96 w 111"/>
                <a:gd name="T17" fmla="*/ 19 h 194"/>
                <a:gd name="T18" fmla="*/ 111 w 111"/>
                <a:gd name="T19" fmla="*/ 77 h 194"/>
                <a:gd name="T20" fmla="*/ 111 w 111"/>
                <a:gd name="T21" fmla="*/ 117 h 194"/>
                <a:gd name="T22" fmla="*/ 74 w 111"/>
                <a:gd name="T23" fmla="*/ 73 h 194"/>
                <a:gd name="T24" fmla="*/ 69 w 111"/>
                <a:gd name="T25" fmla="*/ 40 h 194"/>
                <a:gd name="T26" fmla="*/ 56 w 111"/>
                <a:gd name="T27" fmla="*/ 30 h 194"/>
                <a:gd name="T28" fmla="*/ 55 w 111"/>
                <a:gd name="T29" fmla="*/ 30 h 194"/>
                <a:gd name="T30" fmla="*/ 42 w 111"/>
                <a:gd name="T31" fmla="*/ 40 h 194"/>
                <a:gd name="T32" fmla="*/ 37 w 111"/>
                <a:gd name="T33" fmla="*/ 73 h 194"/>
                <a:gd name="T34" fmla="*/ 37 w 111"/>
                <a:gd name="T35" fmla="*/ 120 h 194"/>
                <a:gd name="T36" fmla="*/ 42 w 111"/>
                <a:gd name="T37" fmla="*/ 154 h 194"/>
                <a:gd name="T38" fmla="*/ 55 w 111"/>
                <a:gd name="T39" fmla="*/ 164 h 194"/>
                <a:gd name="T40" fmla="*/ 56 w 111"/>
                <a:gd name="T41" fmla="*/ 164 h 194"/>
                <a:gd name="T42" fmla="*/ 69 w 111"/>
                <a:gd name="T43" fmla="*/ 154 h 194"/>
                <a:gd name="T44" fmla="*/ 74 w 111"/>
                <a:gd name="T45" fmla="*/ 120 h 194"/>
                <a:gd name="T46" fmla="*/ 74 w 111"/>
                <a:gd name="T47" fmla="*/ 73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1" h="194">
                  <a:moveTo>
                    <a:pt x="111" y="117"/>
                  </a:moveTo>
                  <a:cubicBezTo>
                    <a:pt x="111" y="142"/>
                    <a:pt x="106" y="162"/>
                    <a:pt x="96" y="175"/>
                  </a:cubicBezTo>
                  <a:cubicBezTo>
                    <a:pt x="86" y="188"/>
                    <a:pt x="72" y="194"/>
                    <a:pt x="56" y="194"/>
                  </a:cubicBezTo>
                  <a:cubicBezTo>
                    <a:pt x="39" y="194"/>
                    <a:pt x="25" y="188"/>
                    <a:pt x="15" y="175"/>
                  </a:cubicBezTo>
                  <a:cubicBezTo>
                    <a:pt x="5" y="162"/>
                    <a:pt x="0" y="142"/>
                    <a:pt x="0" y="11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52"/>
                    <a:pt x="5" y="32"/>
                    <a:pt x="15" y="19"/>
                  </a:cubicBezTo>
                  <a:cubicBezTo>
                    <a:pt x="25" y="6"/>
                    <a:pt x="38" y="0"/>
                    <a:pt x="55" y="0"/>
                  </a:cubicBezTo>
                  <a:cubicBezTo>
                    <a:pt x="72" y="0"/>
                    <a:pt x="86" y="6"/>
                    <a:pt x="96" y="19"/>
                  </a:cubicBezTo>
                  <a:cubicBezTo>
                    <a:pt x="106" y="32"/>
                    <a:pt x="111" y="52"/>
                    <a:pt x="111" y="77"/>
                  </a:cubicBezTo>
                  <a:lnTo>
                    <a:pt x="111" y="117"/>
                  </a:lnTo>
                  <a:close/>
                  <a:moveTo>
                    <a:pt x="74" y="73"/>
                  </a:moveTo>
                  <a:cubicBezTo>
                    <a:pt x="74" y="58"/>
                    <a:pt x="72" y="47"/>
                    <a:pt x="69" y="40"/>
                  </a:cubicBezTo>
                  <a:cubicBezTo>
                    <a:pt x="66" y="33"/>
                    <a:pt x="61" y="30"/>
                    <a:pt x="56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49" y="30"/>
                    <a:pt x="45" y="33"/>
                    <a:pt x="42" y="40"/>
                  </a:cubicBezTo>
                  <a:cubicBezTo>
                    <a:pt x="38" y="47"/>
                    <a:pt x="37" y="58"/>
                    <a:pt x="37" y="73"/>
                  </a:cubicBezTo>
                  <a:cubicBezTo>
                    <a:pt x="37" y="120"/>
                    <a:pt x="37" y="120"/>
                    <a:pt x="37" y="120"/>
                  </a:cubicBezTo>
                  <a:cubicBezTo>
                    <a:pt x="37" y="136"/>
                    <a:pt x="38" y="147"/>
                    <a:pt x="42" y="154"/>
                  </a:cubicBezTo>
                  <a:cubicBezTo>
                    <a:pt x="45" y="161"/>
                    <a:pt x="49" y="164"/>
                    <a:pt x="55" y="164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62" y="164"/>
                    <a:pt x="66" y="161"/>
                    <a:pt x="69" y="154"/>
                  </a:cubicBezTo>
                  <a:cubicBezTo>
                    <a:pt x="72" y="147"/>
                    <a:pt x="74" y="136"/>
                    <a:pt x="74" y="120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48"/>
            <p:cNvSpPr>
              <a:spLocks/>
            </p:cNvSpPr>
            <p:nvPr/>
          </p:nvSpPr>
          <p:spPr bwMode="auto">
            <a:xfrm>
              <a:off x="7920685" y="4501991"/>
              <a:ext cx="145640" cy="243668"/>
            </a:xfrm>
            <a:custGeom>
              <a:avLst/>
              <a:gdLst>
                <a:gd name="T0" fmla="*/ 115 w 115"/>
                <a:gd name="T1" fmla="*/ 191 h 191"/>
                <a:gd name="T2" fmla="*/ 3 w 115"/>
                <a:gd name="T3" fmla="*/ 191 h 191"/>
                <a:gd name="T4" fmla="*/ 3 w 115"/>
                <a:gd name="T5" fmla="*/ 166 h 191"/>
                <a:gd name="T6" fmla="*/ 55 w 115"/>
                <a:gd name="T7" fmla="*/ 101 h 191"/>
                <a:gd name="T8" fmla="*/ 69 w 115"/>
                <a:gd name="T9" fmla="*/ 76 h 191"/>
                <a:gd name="T10" fmla="*/ 74 w 115"/>
                <a:gd name="T11" fmla="*/ 56 h 191"/>
                <a:gd name="T12" fmla="*/ 69 w 115"/>
                <a:gd name="T13" fmla="*/ 36 h 191"/>
                <a:gd name="T14" fmla="*/ 56 w 115"/>
                <a:gd name="T15" fmla="*/ 29 h 191"/>
                <a:gd name="T16" fmla="*/ 42 w 115"/>
                <a:gd name="T17" fmla="*/ 38 h 191"/>
                <a:gd name="T18" fmla="*/ 37 w 115"/>
                <a:gd name="T19" fmla="*/ 62 h 191"/>
                <a:gd name="T20" fmla="*/ 1 w 115"/>
                <a:gd name="T21" fmla="*/ 62 h 191"/>
                <a:gd name="T22" fmla="*/ 1 w 115"/>
                <a:gd name="T23" fmla="*/ 61 h 191"/>
                <a:gd name="T24" fmla="*/ 15 w 115"/>
                <a:gd name="T25" fmla="*/ 17 h 191"/>
                <a:gd name="T26" fmla="*/ 56 w 115"/>
                <a:gd name="T27" fmla="*/ 0 h 191"/>
                <a:gd name="T28" fmla="*/ 96 w 115"/>
                <a:gd name="T29" fmla="*/ 15 h 191"/>
                <a:gd name="T30" fmla="*/ 111 w 115"/>
                <a:gd name="T31" fmla="*/ 56 h 191"/>
                <a:gd name="T32" fmla="*/ 103 w 115"/>
                <a:gd name="T33" fmla="*/ 88 h 191"/>
                <a:gd name="T34" fmla="*/ 75 w 115"/>
                <a:gd name="T35" fmla="*/ 127 h 191"/>
                <a:gd name="T36" fmla="*/ 51 w 115"/>
                <a:gd name="T37" fmla="*/ 162 h 191"/>
                <a:gd name="T38" fmla="*/ 115 w 115"/>
                <a:gd name="T39" fmla="*/ 162 h 191"/>
                <a:gd name="T40" fmla="*/ 115 w 115"/>
                <a:gd name="T41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5" h="191">
                  <a:moveTo>
                    <a:pt x="115" y="191"/>
                  </a:moveTo>
                  <a:cubicBezTo>
                    <a:pt x="3" y="191"/>
                    <a:pt x="3" y="191"/>
                    <a:pt x="3" y="191"/>
                  </a:cubicBezTo>
                  <a:cubicBezTo>
                    <a:pt x="3" y="166"/>
                    <a:pt x="3" y="166"/>
                    <a:pt x="3" y="166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61" y="91"/>
                    <a:pt x="66" y="83"/>
                    <a:pt x="69" y="76"/>
                  </a:cubicBezTo>
                  <a:cubicBezTo>
                    <a:pt x="72" y="68"/>
                    <a:pt x="74" y="62"/>
                    <a:pt x="74" y="56"/>
                  </a:cubicBezTo>
                  <a:cubicBezTo>
                    <a:pt x="74" y="48"/>
                    <a:pt x="72" y="41"/>
                    <a:pt x="69" y="36"/>
                  </a:cubicBezTo>
                  <a:cubicBezTo>
                    <a:pt x="66" y="32"/>
                    <a:pt x="61" y="29"/>
                    <a:pt x="56" y="29"/>
                  </a:cubicBezTo>
                  <a:cubicBezTo>
                    <a:pt x="50" y="29"/>
                    <a:pt x="45" y="32"/>
                    <a:pt x="42" y="38"/>
                  </a:cubicBezTo>
                  <a:cubicBezTo>
                    <a:pt x="38" y="44"/>
                    <a:pt x="37" y="52"/>
                    <a:pt x="37" y="62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0" y="44"/>
                    <a:pt x="5" y="29"/>
                    <a:pt x="15" y="17"/>
                  </a:cubicBezTo>
                  <a:cubicBezTo>
                    <a:pt x="25" y="6"/>
                    <a:pt x="39" y="0"/>
                    <a:pt x="56" y="0"/>
                  </a:cubicBezTo>
                  <a:cubicBezTo>
                    <a:pt x="73" y="0"/>
                    <a:pt x="86" y="5"/>
                    <a:pt x="96" y="15"/>
                  </a:cubicBezTo>
                  <a:cubicBezTo>
                    <a:pt x="106" y="25"/>
                    <a:pt x="111" y="38"/>
                    <a:pt x="111" y="56"/>
                  </a:cubicBezTo>
                  <a:cubicBezTo>
                    <a:pt x="111" y="67"/>
                    <a:pt x="108" y="78"/>
                    <a:pt x="103" y="88"/>
                  </a:cubicBezTo>
                  <a:cubicBezTo>
                    <a:pt x="97" y="98"/>
                    <a:pt x="88" y="111"/>
                    <a:pt x="75" y="127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115" y="162"/>
                    <a:pt x="115" y="162"/>
                    <a:pt x="115" y="162"/>
                  </a:cubicBezTo>
                  <a:lnTo>
                    <a:pt x="115" y="1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0" name="Group 62">
            <a:extLst>
              <a:ext uri="{FF2B5EF4-FFF2-40B4-BE49-F238E27FC236}">
                <a16:creationId xmlns:a16="http://schemas.microsoft.com/office/drawing/2014/main" id="{2AC532C8-D908-43BA-9276-274F87495196}"/>
              </a:ext>
            </a:extLst>
          </p:cNvPr>
          <p:cNvGrpSpPr/>
          <p:nvPr/>
        </p:nvGrpSpPr>
        <p:grpSpPr>
          <a:xfrm>
            <a:off x="6338184" y="2669046"/>
            <a:ext cx="763210" cy="673589"/>
            <a:chOff x="5814507" y="2014895"/>
            <a:chExt cx="763210" cy="673589"/>
          </a:xfrm>
        </p:grpSpPr>
        <p:grpSp>
          <p:nvGrpSpPr>
            <p:cNvPr id="101" name="Group 52">
              <a:extLst>
                <a:ext uri="{FF2B5EF4-FFF2-40B4-BE49-F238E27FC236}">
                  <a16:creationId xmlns:a16="http://schemas.microsoft.com/office/drawing/2014/main" id="{962EE3C7-BDD0-420D-B372-0C249455CCC1}"/>
                </a:ext>
              </a:extLst>
            </p:cNvPr>
            <p:cNvGrpSpPr/>
            <p:nvPr/>
          </p:nvGrpSpPr>
          <p:grpSpPr>
            <a:xfrm>
              <a:off x="5814507" y="2014895"/>
              <a:ext cx="763209" cy="642780"/>
              <a:chOff x="5814507" y="2014895"/>
              <a:chExt cx="763209" cy="642780"/>
            </a:xfrm>
          </p:grpSpPr>
          <p:sp>
            <p:nvSpPr>
              <p:cNvPr id="103" name="Freeform 15"/>
              <p:cNvSpPr>
                <a:spLocks/>
              </p:cNvSpPr>
              <p:nvPr/>
            </p:nvSpPr>
            <p:spPr bwMode="auto">
              <a:xfrm>
                <a:off x="5814507" y="2014895"/>
                <a:ext cx="389307" cy="642780"/>
              </a:xfrm>
              <a:custGeom>
                <a:avLst/>
                <a:gdLst>
                  <a:gd name="T0" fmla="*/ 201 w 278"/>
                  <a:gd name="T1" fmla="*/ 420 h 459"/>
                  <a:gd name="T2" fmla="*/ 278 w 278"/>
                  <a:gd name="T3" fmla="*/ 0 h 459"/>
                  <a:gd name="T4" fmla="*/ 0 w 278"/>
                  <a:gd name="T5" fmla="*/ 459 h 459"/>
                  <a:gd name="T6" fmla="*/ 201 w 278"/>
                  <a:gd name="T7" fmla="*/ 420 h 459"/>
                  <a:gd name="T8" fmla="*/ 201 w 278"/>
                  <a:gd name="T9" fmla="*/ 42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8" h="459">
                    <a:moveTo>
                      <a:pt x="201" y="420"/>
                    </a:moveTo>
                    <a:lnTo>
                      <a:pt x="278" y="0"/>
                    </a:lnTo>
                    <a:lnTo>
                      <a:pt x="0" y="459"/>
                    </a:lnTo>
                    <a:lnTo>
                      <a:pt x="201" y="420"/>
                    </a:lnTo>
                    <a:lnTo>
                      <a:pt x="201" y="420"/>
                    </a:ln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16"/>
              <p:cNvSpPr>
                <a:spLocks/>
              </p:cNvSpPr>
              <p:nvPr/>
            </p:nvSpPr>
            <p:spPr bwMode="auto">
              <a:xfrm>
                <a:off x="5877524" y="2196946"/>
                <a:ext cx="260472" cy="420118"/>
              </a:xfrm>
              <a:custGeom>
                <a:avLst/>
                <a:gdLst>
                  <a:gd name="T0" fmla="*/ 186 w 186"/>
                  <a:gd name="T1" fmla="*/ 0 h 300"/>
                  <a:gd name="T2" fmla="*/ 134 w 186"/>
                  <a:gd name="T3" fmla="*/ 273 h 300"/>
                  <a:gd name="T4" fmla="*/ 0 w 186"/>
                  <a:gd name="T5" fmla="*/ 300 h 300"/>
                  <a:gd name="T6" fmla="*/ 186 w 186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6" h="300">
                    <a:moveTo>
                      <a:pt x="186" y="0"/>
                    </a:moveTo>
                    <a:lnTo>
                      <a:pt x="134" y="273"/>
                    </a:lnTo>
                    <a:lnTo>
                      <a:pt x="0" y="300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7"/>
              <p:cNvSpPr>
                <a:spLocks/>
              </p:cNvSpPr>
              <p:nvPr/>
            </p:nvSpPr>
            <p:spPr bwMode="auto">
              <a:xfrm>
                <a:off x="6095984" y="2014895"/>
                <a:ext cx="481732" cy="623174"/>
              </a:xfrm>
              <a:custGeom>
                <a:avLst/>
                <a:gdLst>
                  <a:gd name="T0" fmla="*/ 0 w 344"/>
                  <a:gd name="T1" fmla="*/ 420 h 445"/>
                  <a:gd name="T2" fmla="*/ 77 w 344"/>
                  <a:gd name="T3" fmla="*/ 0 h 445"/>
                  <a:gd name="T4" fmla="*/ 344 w 344"/>
                  <a:gd name="T5" fmla="*/ 445 h 445"/>
                  <a:gd name="T6" fmla="*/ 0 w 344"/>
                  <a:gd name="T7" fmla="*/ 420 h 445"/>
                  <a:gd name="T8" fmla="*/ 0 w 344"/>
                  <a:gd name="T9" fmla="*/ 420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4" h="445">
                    <a:moveTo>
                      <a:pt x="0" y="420"/>
                    </a:moveTo>
                    <a:lnTo>
                      <a:pt x="77" y="0"/>
                    </a:lnTo>
                    <a:lnTo>
                      <a:pt x="344" y="445"/>
                    </a:lnTo>
                    <a:lnTo>
                      <a:pt x="0" y="420"/>
                    </a:lnTo>
                    <a:lnTo>
                      <a:pt x="0" y="420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8"/>
              <p:cNvSpPr>
                <a:spLocks/>
              </p:cNvSpPr>
              <p:nvPr/>
            </p:nvSpPr>
            <p:spPr bwMode="auto">
              <a:xfrm>
                <a:off x="6133794" y="2108721"/>
                <a:ext cx="385106" cy="495739"/>
              </a:xfrm>
              <a:custGeom>
                <a:avLst/>
                <a:gdLst>
                  <a:gd name="T0" fmla="*/ 0 w 275"/>
                  <a:gd name="T1" fmla="*/ 334 h 354"/>
                  <a:gd name="T2" fmla="*/ 62 w 275"/>
                  <a:gd name="T3" fmla="*/ 0 h 354"/>
                  <a:gd name="T4" fmla="*/ 275 w 275"/>
                  <a:gd name="T5" fmla="*/ 354 h 354"/>
                  <a:gd name="T6" fmla="*/ 0 w 275"/>
                  <a:gd name="T7" fmla="*/ 334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5" h="354">
                    <a:moveTo>
                      <a:pt x="0" y="334"/>
                    </a:moveTo>
                    <a:lnTo>
                      <a:pt x="62" y="0"/>
                    </a:lnTo>
                    <a:lnTo>
                      <a:pt x="275" y="354"/>
                    </a:lnTo>
                    <a:lnTo>
                      <a:pt x="0" y="33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2" name="Freeform 19"/>
            <p:cNvSpPr>
              <a:spLocks/>
            </p:cNvSpPr>
            <p:nvPr/>
          </p:nvSpPr>
          <p:spPr bwMode="auto">
            <a:xfrm>
              <a:off x="5814507" y="2603060"/>
              <a:ext cx="763210" cy="85424"/>
            </a:xfrm>
            <a:custGeom>
              <a:avLst/>
              <a:gdLst>
                <a:gd name="T0" fmla="*/ 201 w 545"/>
                <a:gd name="T1" fmla="*/ 0 h 61"/>
                <a:gd name="T2" fmla="*/ 545 w 545"/>
                <a:gd name="T3" fmla="*/ 25 h 61"/>
                <a:gd name="T4" fmla="*/ 351 w 545"/>
                <a:gd name="T5" fmla="*/ 61 h 61"/>
                <a:gd name="T6" fmla="*/ 0 w 545"/>
                <a:gd name="T7" fmla="*/ 39 h 61"/>
                <a:gd name="T8" fmla="*/ 201 w 545"/>
                <a:gd name="T9" fmla="*/ 0 h 61"/>
                <a:gd name="T10" fmla="*/ 201 w 545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45" h="61">
                  <a:moveTo>
                    <a:pt x="201" y="0"/>
                  </a:moveTo>
                  <a:lnTo>
                    <a:pt x="545" y="25"/>
                  </a:lnTo>
                  <a:lnTo>
                    <a:pt x="351" y="61"/>
                  </a:lnTo>
                  <a:lnTo>
                    <a:pt x="0" y="39"/>
                  </a:lnTo>
                  <a:lnTo>
                    <a:pt x="201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63">
            <a:extLst>
              <a:ext uri="{FF2B5EF4-FFF2-40B4-BE49-F238E27FC236}">
                <a16:creationId xmlns:a16="http://schemas.microsoft.com/office/drawing/2014/main" id="{CDF01701-3F78-49C1-9493-B99DD926C062}"/>
              </a:ext>
            </a:extLst>
          </p:cNvPr>
          <p:cNvGrpSpPr/>
          <p:nvPr/>
        </p:nvGrpSpPr>
        <p:grpSpPr>
          <a:xfrm>
            <a:off x="5976884" y="3408453"/>
            <a:ext cx="1541824" cy="670788"/>
            <a:chOff x="5453207" y="2754302"/>
            <a:chExt cx="1541824" cy="670788"/>
          </a:xfrm>
        </p:grpSpPr>
        <p:sp>
          <p:nvSpPr>
            <p:cNvPr id="108" name="Freeform 21"/>
            <p:cNvSpPr>
              <a:spLocks/>
            </p:cNvSpPr>
            <p:nvPr/>
          </p:nvSpPr>
          <p:spPr bwMode="auto">
            <a:xfrm>
              <a:off x="5453207" y="2754302"/>
              <a:ext cx="616169" cy="649782"/>
            </a:xfrm>
            <a:custGeom>
              <a:avLst/>
              <a:gdLst>
                <a:gd name="T0" fmla="*/ 376 w 440"/>
                <a:gd name="T1" fmla="*/ 435 h 464"/>
                <a:gd name="T2" fmla="*/ 440 w 440"/>
                <a:gd name="T3" fmla="*/ 0 h 464"/>
                <a:gd name="T4" fmla="*/ 199 w 440"/>
                <a:gd name="T5" fmla="*/ 48 h 464"/>
                <a:gd name="T6" fmla="*/ 0 w 440"/>
                <a:gd name="T7" fmla="*/ 464 h 464"/>
                <a:gd name="T8" fmla="*/ 376 w 440"/>
                <a:gd name="T9" fmla="*/ 435 h 464"/>
                <a:gd name="T10" fmla="*/ 376 w 440"/>
                <a:gd name="T11" fmla="*/ 435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0" h="464">
                  <a:moveTo>
                    <a:pt x="376" y="435"/>
                  </a:moveTo>
                  <a:lnTo>
                    <a:pt x="440" y="0"/>
                  </a:lnTo>
                  <a:lnTo>
                    <a:pt x="199" y="48"/>
                  </a:lnTo>
                  <a:lnTo>
                    <a:pt x="0" y="464"/>
                  </a:lnTo>
                  <a:lnTo>
                    <a:pt x="376" y="435"/>
                  </a:lnTo>
                  <a:lnTo>
                    <a:pt x="376" y="435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3"/>
            <p:cNvSpPr>
              <a:spLocks/>
            </p:cNvSpPr>
            <p:nvPr/>
          </p:nvSpPr>
          <p:spPr bwMode="auto">
            <a:xfrm>
              <a:off x="5979752" y="2754302"/>
              <a:ext cx="1015279" cy="634378"/>
            </a:xfrm>
            <a:custGeom>
              <a:avLst/>
              <a:gdLst>
                <a:gd name="T0" fmla="*/ 0 w 725"/>
                <a:gd name="T1" fmla="*/ 435 h 453"/>
                <a:gd name="T2" fmla="*/ 64 w 725"/>
                <a:gd name="T3" fmla="*/ 0 h 453"/>
                <a:gd name="T4" fmla="*/ 507 w 725"/>
                <a:gd name="T5" fmla="*/ 30 h 453"/>
                <a:gd name="T6" fmla="*/ 725 w 725"/>
                <a:gd name="T7" fmla="*/ 453 h 453"/>
                <a:gd name="T8" fmla="*/ 0 w 725"/>
                <a:gd name="T9" fmla="*/ 435 h 453"/>
                <a:gd name="T10" fmla="*/ 0 w 725"/>
                <a:gd name="T11" fmla="*/ 435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5" h="453">
                  <a:moveTo>
                    <a:pt x="0" y="435"/>
                  </a:moveTo>
                  <a:lnTo>
                    <a:pt x="64" y="0"/>
                  </a:lnTo>
                  <a:lnTo>
                    <a:pt x="507" y="30"/>
                  </a:lnTo>
                  <a:lnTo>
                    <a:pt x="725" y="453"/>
                  </a:lnTo>
                  <a:lnTo>
                    <a:pt x="0" y="435"/>
                  </a:lnTo>
                  <a:lnTo>
                    <a:pt x="0" y="43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0" name="Group 59">
              <a:extLst>
                <a:ext uri="{FF2B5EF4-FFF2-40B4-BE49-F238E27FC236}">
                  <a16:creationId xmlns:a16="http://schemas.microsoft.com/office/drawing/2014/main" id="{BAEE6C0F-807F-4278-A93B-487BAF983592}"/>
                </a:ext>
              </a:extLst>
            </p:cNvPr>
            <p:cNvGrpSpPr/>
            <p:nvPr/>
          </p:nvGrpSpPr>
          <p:grpSpPr>
            <a:xfrm>
              <a:off x="5453207" y="2792113"/>
              <a:ext cx="1541823" cy="632977"/>
              <a:chOff x="5453207" y="2792113"/>
              <a:chExt cx="1541823" cy="632977"/>
            </a:xfrm>
          </p:grpSpPr>
          <p:sp>
            <p:nvSpPr>
              <p:cNvPr id="111" name="Freeform 22"/>
              <p:cNvSpPr>
                <a:spLocks/>
              </p:cNvSpPr>
              <p:nvPr/>
            </p:nvSpPr>
            <p:spPr bwMode="auto">
              <a:xfrm>
                <a:off x="5509223" y="2797714"/>
                <a:ext cx="519543" cy="568559"/>
              </a:xfrm>
              <a:custGeom>
                <a:avLst/>
                <a:gdLst>
                  <a:gd name="T0" fmla="*/ 177 w 371"/>
                  <a:gd name="T1" fmla="*/ 38 h 406"/>
                  <a:gd name="T2" fmla="*/ 371 w 371"/>
                  <a:gd name="T3" fmla="*/ 0 h 406"/>
                  <a:gd name="T4" fmla="*/ 315 w 371"/>
                  <a:gd name="T5" fmla="*/ 381 h 406"/>
                  <a:gd name="T6" fmla="*/ 0 w 371"/>
                  <a:gd name="T7" fmla="*/ 406 h 406"/>
                  <a:gd name="T8" fmla="*/ 177 w 371"/>
                  <a:gd name="T9" fmla="*/ 38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1" h="406">
                    <a:moveTo>
                      <a:pt x="177" y="38"/>
                    </a:moveTo>
                    <a:lnTo>
                      <a:pt x="371" y="0"/>
                    </a:lnTo>
                    <a:lnTo>
                      <a:pt x="315" y="381"/>
                    </a:lnTo>
                    <a:lnTo>
                      <a:pt x="0" y="406"/>
                    </a:lnTo>
                    <a:lnTo>
                      <a:pt x="177" y="38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24"/>
              <p:cNvSpPr>
                <a:spLocks/>
              </p:cNvSpPr>
              <p:nvPr/>
            </p:nvSpPr>
            <p:spPr bwMode="auto">
              <a:xfrm>
                <a:off x="6017562" y="2792113"/>
                <a:ext cx="920053" cy="561557"/>
              </a:xfrm>
              <a:custGeom>
                <a:avLst/>
                <a:gdLst>
                  <a:gd name="T0" fmla="*/ 0 w 657"/>
                  <a:gd name="T1" fmla="*/ 384 h 401"/>
                  <a:gd name="T2" fmla="*/ 57 w 657"/>
                  <a:gd name="T3" fmla="*/ 0 h 401"/>
                  <a:gd name="T4" fmla="*/ 465 w 657"/>
                  <a:gd name="T5" fmla="*/ 26 h 401"/>
                  <a:gd name="T6" fmla="*/ 657 w 657"/>
                  <a:gd name="T7" fmla="*/ 401 h 401"/>
                  <a:gd name="T8" fmla="*/ 0 w 657"/>
                  <a:gd name="T9" fmla="*/ 384 h 4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7" h="401">
                    <a:moveTo>
                      <a:pt x="0" y="384"/>
                    </a:moveTo>
                    <a:lnTo>
                      <a:pt x="57" y="0"/>
                    </a:lnTo>
                    <a:lnTo>
                      <a:pt x="465" y="26"/>
                    </a:lnTo>
                    <a:lnTo>
                      <a:pt x="657" y="401"/>
                    </a:lnTo>
                    <a:lnTo>
                      <a:pt x="0" y="38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20"/>
              <p:cNvSpPr>
                <a:spLocks/>
              </p:cNvSpPr>
              <p:nvPr/>
            </p:nvSpPr>
            <p:spPr bwMode="auto">
              <a:xfrm>
                <a:off x="5453207" y="3363473"/>
                <a:ext cx="1541823" cy="61617"/>
              </a:xfrm>
              <a:custGeom>
                <a:avLst/>
                <a:gdLst>
                  <a:gd name="T0" fmla="*/ 376 w 1101"/>
                  <a:gd name="T1" fmla="*/ 0 h 44"/>
                  <a:gd name="T2" fmla="*/ 1101 w 1101"/>
                  <a:gd name="T3" fmla="*/ 18 h 44"/>
                  <a:gd name="T4" fmla="*/ 674 w 1101"/>
                  <a:gd name="T5" fmla="*/ 44 h 44"/>
                  <a:gd name="T6" fmla="*/ 0 w 1101"/>
                  <a:gd name="T7" fmla="*/ 29 h 44"/>
                  <a:gd name="T8" fmla="*/ 376 w 1101"/>
                  <a:gd name="T9" fmla="*/ 0 h 44"/>
                  <a:gd name="T10" fmla="*/ 376 w 1101"/>
                  <a:gd name="T11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1" h="44">
                    <a:moveTo>
                      <a:pt x="376" y="0"/>
                    </a:moveTo>
                    <a:lnTo>
                      <a:pt x="1101" y="18"/>
                    </a:lnTo>
                    <a:lnTo>
                      <a:pt x="674" y="44"/>
                    </a:lnTo>
                    <a:lnTo>
                      <a:pt x="0" y="29"/>
                    </a:lnTo>
                    <a:lnTo>
                      <a:pt x="376" y="0"/>
                    </a:lnTo>
                    <a:lnTo>
                      <a:pt x="376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4" name="Group 54">
            <a:extLst>
              <a:ext uri="{FF2B5EF4-FFF2-40B4-BE49-F238E27FC236}">
                <a16:creationId xmlns:a16="http://schemas.microsoft.com/office/drawing/2014/main" id="{237F1D17-2FD0-4C8D-A39F-C4433E1E3E29}"/>
              </a:ext>
            </a:extLst>
          </p:cNvPr>
          <p:cNvGrpSpPr/>
          <p:nvPr/>
        </p:nvGrpSpPr>
        <p:grpSpPr>
          <a:xfrm>
            <a:off x="5619786" y="4198274"/>
            <a:ext cx="2296631" cy="662385"/>
            <a:chOff x="5096109" y="3544123"/>
            <a:chExt cx="2296631" cy="662385"/>
          </a:xfrm>
        </p:grpSpPr>
        <p:sp>
          <p:nvSpPr>
            <p:cNvPr id="115" name="Freeform 25"/>
            <p:cNvSpPr>
              <a:spLocks/>
            </p:cNvSpPr>
            <p:nvPr/>
          </p:nvSpPr>
          <p:spPr bwMode="auto">
            <a:xfrm>
              <a:off x="5096109" y="3544123"/>
              <a:ext cx="857035" cy="662385"/>
            </a:xfrm>
            <a:custGeom>
              <a:avLst/>
              <a:gdLst>
                <a:gd name="T0" fmla="*/ 541 w 612"/>
                <a:gd name="T1" fmla="*/ 473 h 473"/>
                <a:gd name="T2" fmla="*/ 612 w 612"/>
                <a:gd name="T3" fmla="*/ 0 h 473"/>
                <a:gd name="T4" fmla="*/ 195 w 612"/>
                <a:gd name="T5" fmla="*/ 17 h 473"/>
                <a:gd name="T6" fmla="*/ 0 w 612"/>
                <a:gd name="T7" fmla="*/ 422 h 473"/>
                <a:gd name="T8" fmla="*/ 541 w 612"/>
                <a:gd name="T9" fmla="*/ 473 h 473"/>
                <a:gd name="T10" fmla="*/ 541 w 612"/>
                <a:gd name="T1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2" h="473">
                  <a:moveTo>
                    <a:pt x="541" y="473"/>
                  </a:moveTo>
                  <a:lnTo>
                    <a:pt x="612" y="0"/>
                  </a:lnTo>
                  <a:lnTo>
                    <a:pt x="195" y="17"/>
                  </a:lnTo>
                  <a:lnTo>
                    <a:pt x="0" y="422"/>
                  </a:lnTo>
                  <a:lnTo>
                    <a:pt x="541" y="473"/>
                  </a:lnTo>
                  <a:lnTo>
                    <a:pt x="541" y="473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6"/>
            <p:cNvSpPr>
              <a:spLocks/>
            </p:cNvSpPr>
            <p:nvPr/>
          </p:nvSpPr>
          <p:spPr bwMode="auto">
            <a:xfrm>
              <a:off x="5146523" y="3579133"/>
              <a:ext cx="767411" cy="592366"/>
            </a:xfrm>
            <a:custGeom>
              <a:avLst/>
              <a:gdLst>
                <a:gd name="T0" fmla="*/ 0 w 548"/>
                <a:gd name="T1" fmla="*/ 376 h 423"/>
                <a:gd name="T2" fmla="*/ 175 w 548"/>
                <a:gd name="T3" fmla="*/ 16 h 423"/>
                <a:gd name="T4" fmla="*/ 548 w 548"/>
                <a:gd name="T5" fmla="*/ 0 h 423"/>
                <a:gd name="T6" fmla="*/ 485 w 548"/>
                <a:gd name="T7" fmla="*/ 423 h 423"/>
                <a:gd name="T8" fmla="*/ 0 w 548"/>
                <a:gd name="T9" fmla="*/ 376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423">
                  <a:moveTo>
                    <a:pt x="0" y="376"/>
                  </a:moveTo>
                  <a:lnTo>
                    <a:pt x="175" y="16"/>
                  </a:lnTo>
                  <a:lnTo>
                    <a:pt x="548" y="0"/>
                  </a:lnTo>
                  <a:lnTo>
                    <a:pt x="485" y="423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7"/>
            <p:cNvSpPr>
              <a:spLocks/>
            </p:cNvSpPr>
            <p:nvPr/>
          </p:nvSpPr>
          <p:spPr bwMode="auto">
            <a:xfrm>
              <a:off x="5853717" y="3544123"/>
              <a:ext cx="1539023" cy="662385"/>
            </a:xfrm>
            <a:custGeom>
              <a:avLst/>
              <a:gdLst>
                <a:gd name="T0" fmla="*/ 0 w 1099"/>
                <a:gd name="T1" fmla="*/ 473 h 473"/>
                <a:gd name="T2" fmla="*/ 71 w 1099"/>
                <a:gd name="T3" fmla="*/ 0 h 473"/>
                <a:gd name="T4" fmla="*/ 878 w 1099"/>
                <a:gd name="T5" fmla="*/ 11 h 473"/>
                <a:gd name="T6" fmla="*/ 1099 w 1099"/>
                <a:gd name="T7" fmla="*/ 440 h 473"/>
                <a:gd name="T8" fmla="*/ 0 w 1099"/>
                <a:gd name="T9" fmla="*/ 473 h 473"/>
                <a:gd name="T10" fmla="*/ 0 w 1099"/>
                <a:gd name="T1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9" h="473">
                  <a:moveTo>
                    <a:pt x="0" y="473"/>
                  </a:moveTo>
                  <a:lnTo>
                    <a:pt x="71" y="0"/>
                  </a:lnTo>
                  <a:lnTo>
                    <a:pt x="878" y="11"/>
                  </a:lnTo>
                  <a:lnTo>
                    <a:pt x="1099" y="440"/>
                  </a:lnTo>
                  <a:lnTo>
                    <a:pt x="0" y="473"/>
                  </a:lnTo>
                  <a:lnTo>
                    <a:pt x="0" y="473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8"/>
            <p:cNvSpPr>
              <a:spLocks/>
            </p:cNvSpPr>
            <p:nvPr/>
          </p:nvSpPr>
          <p:spPr bwMode="auto">
            <a:xfrm>
              <a:off x="5892928" y="3577733"/>
              <a:ext cx="1445197" cy="595167"/>
            </a:xfrm>
            <a:custGeom>
              <a:avLst/>
              <a:gdLst>
                <a:gd name="T0" fmla="*/ 64 w 1032"/>
                <a:gd name="T1" fmla="*/ 0 h 425"/>
                <a:gd name="T2" fmla="*/ 835 w 1032"/>
                <a:gd name="T3" fmla="*/ 11 h 425"/>
                <a:gd name="T4" fmla="*/ 1032 w 1032"/>
                <a:gd name="T5" fmla="*/ 393 h 425"/>
                <a:gd name="T6" fmla="*/ 0 w 1032"/>
                <a:gd name="T7" fmla="*/ 425 h 425"/>
                <a:gd name="T8" fmla="*/ 64 w 1032"/>
                <a:gd name="T9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2" h="425">
                  <a:moveTo>
                    <a:pt x="64" y="0"/>
                  </a:moveTo>
                  <a:lnTo>
                    <a:pt x="835" y="11"/>
                  </a:lnTo>
                  <a:lnTo>
                    <a:pt x="1032" y="393"/>
                  </a:lnTo>
                  <a:lnTo>
                    <a:pt x="0" y="425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9" name="Group 3">
            <a:extLst>
              <a:ext uri="{FF2B5EF4-FFF2-40B4-BE49-F238E27FC236}">
                <a16:creationId xmlns:a16="http://schemas.microsoft.com/office/drawing/2014/main" id="{18C2AAD9-E0B4-4D5C-8B88-65E3CC71BCCD}"/>
              </a:ext>
            </a:extLst>
          </p:cNvPr>
          <p:cNvGrpSpPr/>
          <p:nvPr/>
        </p:nvGrpSpPr>
        <p:grpSpPr>
          <a:xfrm>
            <a:off x="5271091" y="4898470"/>
            <a:ext cx="3047237" cy="889249"/>
            <a:chOff x="4747414" y="4244319"/>
            <a:chExt cx="3047237" cy="889249"/>
          </a:xfrm>
        </p:grpSpPr>
        <p:sp>
          <p:nvSpPr>
            <p:cNvPr id="120" name="Freeform 32"/>
            <p:cNvSpPr>
              <a:spLocks/>
            </p:cNvSpPr>
            <p:nvPr/>
          </p:nvSpPr>
          <p:spPr bwMode="auto">
            <a:xfrm>
              <a:off x="5716480" y="4333944"/>
              <a:ext cx="2078171" cy="799624"/>
            </a:xfrm>
            <a:custGeom>
              <a:avLst/>
              <a:gdLst>
                <a:gd name="T0" fmla="*/ 1388 w 1638"/>
                <a:gd name="T1" fmla="*/ 0 h 630"/>
                <a:gd name="T2" fmla="*/ 86 w 1638"/>
                <a:gd name="T3" fmla="*/ 56 h 630"/>
                <a:gd name="T4" fmla="*/ 0 w 1638"/>
                <a:gd name="T5" fmla="*/ 630 h 630"/>
                <a:gd name="T6" fmla="*/ 1638 w 1638"/>
                <a:gd name="T7" fmla="*/ 481 h 630"/>
                <a:gd name="T8" fmla="*/ 1388 w 1638"/>
                <a:gd name="T9" fmla="*/ 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38" h="630">
                  <a:moveTo>
                    <a:pt x="1388" y="0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0" y="630"/>
                    <a:pt x="0" y="630"/>
                    <a:pt x="0" y="630"/>
                  </a:cubicBezTo>
                  <a:cubicBezTo>
                    <a:pt x="1427" y="500"/>
                    <a:pt x="1091" y="531"/>
                    <a:pt x="1638" y="481"/>
                  </a:cubicBezTo>
                  <a:cubicBezTo>
                    <a:pt x="1388" y="0"/>
                    <a:pt x="1388" y="0"/>
                    <a:pt x="1388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1" name="Group 2">
              <a:extLst>
                <a:ext uri="{FF2B5EF4-FFF2-40B4-BE49-F238E27FC236}">
                  <a16:creationId xmlns:a16="http://schemas.microsoft.com/office/drawing/2014/main" id="{A52F0694-A203-4CBF-BADA-4FE040B933F6}"/>
                </a:ext>
              </a:extLst>
            </p:cNvPr>
            <p:cNvGrpSpPr/>
            <p:nvPr/>
          </p:nvGrpSpPr>
          <p:grpSpPr>
            <a:xfrm>
              <a:off x="4747414" y="4244319"/>
              <a:ext cx="2994022" cy="889249"/>
              <a:chOff x="4747414" y="4244319"/>
              <a:chExt cx="2994022" cy="889249"/>
            </a:xfrm>
          </p:grpSpPr>
          <p:sp>
            <p:nvSpPr>
              <p:cNvPr id="122" name="Freeform 29"/>
              <p:cNvSpPr>
                <a:spLocks/>
              </p:cNvSpPr>
              <p:nvPr/>
            </p:nvSpPr>
            <p:spPr bwMode="auto">
              <a:xfrm>
                <a:off x="5019088" y="4244319"/>
                <a:ext cx="2457675" cy="161045"/>
              </a:xfrm>
              <a:custGeom>
                <a:avLst/>
                <a:gdLst>
                  <a:gd name="T0" fmla="*/ 0 w 1755"/>
                  <a:gd name="T1" fmla="*/ 36 h 115"/>
                  <a:gd name="T2" fmla="*/ 1052 w 1755"/>
                  <a:gd name="T3" fmla="*/ 0 h 115"/>
                  <a:gd name="T4" fmla="*/ 1755 w 1755"/>
                  <a:gd name="T5" fmla="*/ 64 h 115"/>
                  <a:gd name="T6" fmla="*/ 576 w 1755"/>
                  <a:gd name="T7" fmla="*/ 115 h 115"/>
                  <a:gd name="T8" fmla="*/ 0 w 1755"/>
                  <a:gd name="T9" fmla="*/ 36 h 115"/>
                  <a:gd name="T10" fmla="*/ 0 w 1755"/>
                  <a:gd name="T11" fmla="*/ 3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55" h="115">
                    <a:moveTo>
                      <a:pt x="0" y="36"/>
                    </a:moveTo>
                    <a:lnTo>
                      <a:pt x="1052" y="0"/>
                    </a:lnTo>
                    <a:lnTo>
                      <a:pt x="1755" y="64"/>
                    </a:lnTo>
                    <a:lnTo>
                      <a:pt x="576" y="115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0"/>
              <p:cNvSpPr>
                <a:spLocks/>
              </p:cNvSpPr>
              <p:nvPr/>
            </p:nvSpPr>
            <p:spPr bwMode="auto">
              <a:xfrm>
                <a:off x="4747414" y="4294733"/>
                <a:ext cx="1078296" cy="838835"/>
              </a:xfrm>
              <a:custGeom>
                <a:avLst/>
                <a:gdLst>
                  <a:gd name="T0" fmla="*/ 194 w 770"/>
                  <a:gd name="T1" fmla="*/ 0 h 599"/>
                  <a:gd name="T2" fmla="*/ 770 w 770"/>
                  <a:gd name="T3" fmla="*/ 79 h 599"/>
                  <a:gd name="T4" fmla="*/ 692 w 770"/>
                  <a:gd name="T5" fmla="*/ 599 h 599"/>
                  <a:gd name="T6" fmla="*/ 0 w 770"/>
                  <a:gd name="T7" fmla="*/ 394 h 599"/>
                  <a:gd name="T8" fmla="*/ 194 w 770"/>
                  <a:gd name="T9" fmla="*/ 0 h 599"/>
                  <a:gd name="T10" fmla="*/ 194 w 770"/>
                  <a:gd name="T11" fmla="*/ 0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0" h="599">
                    <a:moveTo>
                      <a:pt x="194" y="0"/>
                    </a:moveTo>
                    <a:lnTo>
                      <a:pt x="770" y="79"/>
                    </a:lnTo>
                    <a:lnTo>
                      <a:pt x="692" y="599"/>
                    </a:lnTo>
                    <a:lnTo>
                      <a:pt x="0" y="394"/>
                    </a:lnTo>
                    <a:lnTo>
                      <a:pt x="194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1"/>
              <p:cNvSpPr>
                <a:spLocks/>
              </p:cNvSpPr>
              <p:nvPr/>
            </p:nvSpPr>
            <p:spPr bwMode="auto">
              <a:xfrm>
                <a:off x="4796427" y="4331144"/>
                <a:ext cx="990072" cy="759013"/>
              </a:xfrm>
              <a:custGeom>
                <a:avLst/>
                <a:gdLst>
                  <a:gd name="T0" fmla="*/ 0 w 707"/>
                  <a:gd name="T1" fmla="*/ 353 h 542"/>
                  <a:gd name="T2" fmla="*/ 173 w 707"/>
                  <a:gd name="T3" fmla="*/ 0 h 542"/>
                  <a:gd name="T4" fmla="*/ 707 w 707"/>
                  <a:gd name="T5" fmla="*/ 74 h 542"/>
                  <a:gd name="T6" fmla="*/ 637 w 707"/>
                  <a:gd name="T7" fmla="*/ 542 h 542"/>
                  <a:gd name="T8" fmla="*/ 0 w 707"/>
                  <a:gd name="T9" fmla="*/ 353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7" h="542">
                    <a:moveTo>
                      <a:pt x="0" y="353"/>
                    </a:moveTo>
                    <a:lnTo>
                      <a:pt x="173" y="0"/>
                    </a:lnTo>
                    <a:lnTo>
                      <a:pt x="707" y="74"/>
                    </a:lnTo>
                    <a:lnTo>
                      <a:pt x="637" y="542"/>
                    </a:lnTo>
                    <a:lnTo>
                      <a:pt x="0" y="353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3"/>
              <p:cNvSpPr>
                <a:spLocks/>
              </p:cNvSpPr>
              <p:nvPr/>
            </p:nvSpPr>
            <p:spPr bwMode="auto">
              <a:xfrm>
                <a:off x="5755691" y="4367554"/>
                <a:ext cx="1985745" cy="729604"/>
              </a:xfrm>
              <a:custGeom>
                <a:avLst/>
                <a:gdLst>
                  <a:gd name="T0" fmla="*/ 78 w 1565"/>
                  <a:gd name="T1" fmla="*/ 55 h 574"/>
                  <a:gd name="T2" fmla="*/ 1341 w 1565"/>
                  <a:gd name="T3" fmla="*/ 0 h 574"/>
                  <a:gd name="T4" fmla="*/ 1565 w 1565"/>
                  <a:gd name="T5" fmla="*/ 431 h 574"/>
                  <a:gd name="T6" fmla="*/ 1427 w 1565"/>
                  <a:gd name="T7" fmla="*/ 443 h 574"/>
                  <a:gd name="T8" fmla="*/ 608 w 1565"/>
                  <a:gd name="T9" fmla="*/ 518 h 574"/>
                  <a:gd name="T10" fmla="*/ 0 w 1565"/>
                  <a:gd name="T11" fmla="*/ 574 h 574"/>
                  <a:gd name="T12" fmla="*/ 78 w 1565"/>
                  <a:gd name="T13" fmla="*/ 55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5" h="574">
                    <a:moveTo>
                      <a:pt x="78" y="55"/>
                    </a:moveTo>
                    <a:cubicBezTo>
                      <a:pt x="1341" y="0"/>
                      <a:pt x="1341" y="0"/>
                      <a:pt x="1341" y="0"/>
                    </a:cubicBezTo>
                    <a:cubicBezTo>
                      <a:pt x="1565" y="431"/>
                      <a:pt x="1565" y="431"/>
                      <a:pt x="1565" y="431"/>
                    </a:cubicBezTo>
                    <a:cubicBezTo>
                      <a:pt x="1427" y="443"/>
                      <a:pt x="1427" y="443"/>
                      <a:pt x="1427" y="443"/>
                    </a:cubicBezTo>
                    <a:cubicBezTo>
                      <a:pt x="1184" y="466"/>
                      <a:pt x="1184" y="466"/>
                      <a:pt x="608" y="518"/>
                    </a:cubicBezTo>
                    <a:cubicBezTo>
                      <a:pt x="0" y="574"/>
                      <a:pt x="0" y="574"/>
                      <a:pt x="0" y="574"/>
                    </a:cubicBezTo>
                    <a:lnTo>
                      <a:pt x="78" y="5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6" name="Group 1">
            <a:extLst>
              <a:ext uri="{FF2B5EF4-FFF2-40B4-BE49-F238E27FC236}">
                <a16:creationId xmlns:a16="http://schemas.microsoft.com/office/drawing/2014/main" id="{2478CAF9-B327-44B7-8252-581E8FC2D2A2}"/>
              </a:ext>
            </a:extLst>
          </p:cNvPr>
          <p:cNvGrpSpPr/>
          <p:nvPr/>
        </p:nvGrpSpPr>
        <p:grpSpPr>
          <a:xfrm>
            <a:off x="4953203" y="5618272"/>
            <a:ext cx="3753031" cy="1132917"/>
            <a:chOff x="4429526" y="4964121"/>
            <a:chExt cx="3753031" cy="1132917"/>
          </a:xfrm>
        </p:grpSpPr>
        <p:sp>
          <p:nvSpPr>
            <p:cNvPr id="127" name="Freeform 34"/>
            <p:cNvSpPr>
              <a:spLocks/>
            </p:cNvSpPr>
            <p:nvPr/>
          </p:nvSpPr>
          <p:spPr bwMode="auto">
            <a:xfrm>
              <a:off x="4673193" y="4964121"/>
              <a:ext cx="3211082" cy="389309"/>
            </a:xfrm>
            <a:custGeom>
              <a:avLst/>
              <a:gdLst>
                <a:gd name="T0" fmla="*/ 337 w 2293"/>
                <a:gd name="T1" fmla="*/ 0 h 278"/>
                <a:gd name="T2" fmla="*/ 0 w 2293"/>
                <a:gd name="T3" fmla="*/ 27 h 278"/>
                <a:gd name="T4" fmla="*/ 723 w 2293"/>
                <a:gd name="T5" fmla="*/ 278 h 278"/>
                <a:gd name="T6" fmla="*/ 2293 w 2293"/>
                <a:gd name="T7" fmla="*/ 111 h 278"/>
                <a:gd name="T8" fmla="*/ 1846 w 2293"/>
                <a:gd name="T9" fmla="*/ 20 h 278"/>
                <a:gd name="T10" fmla="*/ 745 w 2293"/>
                <a:gd name="T11" fmla="*/ 121 h 278"/>
                <a:gd name="T12" fmla="*/ 337 w 2293"/>
                <a:gd name="T13" fmla="*/ 0 h 278"/>
                <a:gd name="T14" fmla="*/ 337 w 2293"/>
                <a:gd name="T1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93" h="278">
                  <a:moveTo>
                    <a:pt x="337" y="0"/>
                  </a:moveTo>
                  <a:lnTo>
                    <a:pt x="0" y="27"/>
                  </a:lnTo>
                  <a:lnTo>
                    <a:pt x="723" y="278"/>
                  </a:lnTo>
                  <a:lnTo>
                    <a:pt x="2293" y="111"/>
                  </a:lnTo>
                  <a:lnTo>
                    <a:pt x="1846" y="20"/>
                  </a:lnTo>
                  <a:lnTo>
                    <a:pt x="745" y="121"/>
                  </a:lnTo>
                  <a:lnTo>
                    <a:pt x="337" y="0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5"/>
            <p:cNvSpPr>
              <a:spLocks/>
            </p:cNvSpPr>
            <p:nvPr/>
          </p:nvSpPr>
          <p:spPr bwMode="auto">
            <a:xfrm>
              <a:off x="4429526" y="5001931"/>
              <a:ext cx="1256145" cy="1095107"/>
            </a:xfrm>
            <a:custGeom>
              <a:avLst/>
              <a:gdLst>
                <a:gd name="T0" fmla="*/ 174 w 897"/>
                <a:gd name="T1" fmla="*/ 0 h 782"/>
                <a:gd name="T2" fmla="*/ 165 w 897"/>
                <a:gd name="T3" fmla="*/ 18 h 782"/>
                <a:gd name="T4" fmla="*/ 0 w 897"/>
                <a:gd name="T5" fmla="*/ 357 h 782"/>
                <a:gd name="T6" fmla="*/ 817 w 897"/>
                <a:gd name="T7" fmla="*/ 782 h 782"/>
                <a:gd name="T8" fmla="*/ 897 w 897"/>
                <a:gd name="T9" fmla="*/ 251 h 782"/>
                <a:gd name="T10" fmla="*/ 174 w 897"/>
                <a:gd name="T11" fmla="*/ 0 h 782"/>
                <a:gd name="T12" fmla="*/ 174 w 897"/>
                <a:gd name="T13" fmla="*/ 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7" h="782">
                  <a:moveTo>
                    <a:pt x="174" y="0"/>
                  </a:moveTo>
                  <a:lnTo>
                    <a:pt x="165" y="18"/>
                  </a:lnTo>
                  <a:lnTo>
                    <a:pt x="0" y="357"/>
                  </a:lnTo>
                  <a:lnTo>
                    <a:pt x="817" y="782"/>
                  </a:lnTo>
                  <a:lnTo>
                    <a:pt x="897" y="251"/>
                  </a:lnTo>
                  <a:lnTo>
                    <a:pt x="174" y="0"/>
                  </a:lnTo>
                  <a:lnTo>
                    <a:pt x="174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6"/>
            <p:cNvSpPr>
              <a:spLocks/>
            </p:cNvSpPr>
            <p:nvPr/>
          </p:nvSpPr>
          <p:spPr bwMode="auto">
            <a:xfrm>
              <a:off x="4474339" y="5043943"/>
              <a:ext cx="1173522" cy="1002681"/>
            </a:xfrm>
            <a:custGeom>
              <a:avLst/>
              <a:gdLst>
                <a:gd name="T0" fmla="*/ 0 w 838"/>
                <a:gd name="T1" fmla="*/ 317 h 716"/>
                <a:gd name="T2" fmla="*/ 154 w 838"/>
                <a:gd name="T3" fmla="*/ 0 h 716"/>
                <a:gd name="T4" fmla="*/ 838 w 838"/>
                <a:gd name="T5" fmla="*/ 236 h 716"/>
                <a:gd name="T6" fmla="*/ 766 w 838"/>
                <a:gd name="T7" fmla="*/ 716 h 716"/>
                <a:gd name="T8" fmla="*/ 0 w 838"/>
                <a:gd name="T9" fmla="*/ 317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8" h="716">
                  <a:moveTo>
                    <a:pt x="0" y="317"/>
                  </a:moveTo>
                  <a:lnTo>
                    <a:pt x="154" y="0"/>
                  </a:lnTo>
                  <a:lnTo>
                    <a:pt x="838" y="236"/>
                  </a:lnTo>
                  <a:lnTo>
                    <a:pt x="766" y="716"/>
                  </a:lnTo>
                  <a:lnTo>
                    <a:pt x="0" y="31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7"/>
            <p:cNvSpPr>
              <a:spLocks/>
            </p:cNvSpPr>
            <p:nvPr/>
          </p:nvSpPr>
          <p:spPr bwMode="auto">
            <a:xfrm>
              <a:off x="5573641" y="5119564"/>
              <a:ext cx="2608916" cy="977474"/>
            </a:xfrm>
            <a:custGeom>
              <a:avLst/>
              <a:gdLst>
                <a:gd name="T0" fmla="*/ 1650 w 1863"/>
                <a:gd name="T1" fmla="*/ 0 h 698"/>
                <a:gd name="T2" fmla="*/ 80 w 1863"/>
                <a:gd name="T3" fmla="*/ 167 h 698"/>
                <a:gd name="T4" fmla="*/ 0 w 1863"/>
                <a:gd name="T5" fmla="*/ 698 h 698"/>
                <a:gd name="T6" fmla="*/ 1863 w 1863"/>
                <a:gd name="T7" fmla="*/ 411 h 698"/>
                <a:gd name="T8" fmla="*/ 1650 w 1863"/>
                <a:gd name="T9" fmla="*/ 0 h 698"/>
                <a:gd name="T10" fmla="*/ 1650 w 1863"/>
                <a:gd name="T11" fmla="*/ 0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3" h="698">
                  <a:moveTo>
                    <a:pt x="1650" y="0"/>
                  </a:moveTo>
                  <a:lnTo>
                    <a:pt x="80" y="167"/>
                  </a:lnTo>
                  <a:lnTo>
                    <a:pt x="0" y="698"/>
                  </a:lnTo>
                  <a:lnTo>
                    <a:pt x="1863" y="411"/>
                  </a:lnTo>
                  <a:lnTo>
                    <a:pt x="1650" y="0"/>
                  </a:lnTo>
                  <a:lnTo>
                    <a:pt x="165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8"/>
            <p:cNvSpPr>
              <a:spLocks/>
            </p:cNvSpPr>
            <p:nvPr/>
          </p:nvSpPr>
          <p:spPr bwMode="auto">
            <a:xfrm>
              <a:off x="5614252" y="5155975"/>
              <a:ext cx="2516491" cy="901853"/>
            </a:xfrm>
            <a:custGeom>
              <a:avLst/>
              <a:gdLst>
                <a:gd name="T0" fmla="*/ 72 w 1797"/>
                <a:gd name="T1" fmla="*/ 163 h 644"/>
                <a:gd name="T2" fmla="*/ 1607 w 1797"/>
                <a:gd name="T3" fmla="*/ 0 h 644"/>
                <a:gd name="T4" fmla="*/ 1797 w 1797"/>
                <a:gd name="T5" fmla="*/ 367 h 644"/>
                <a:gd name="T6" fmla="*/ 0 w 1797"/>
                <a:gd name="T7" fmla="*/ 644 h 644"/>
                <a:gd name="T8" fmla="*/ 72 w 1797"/>
                <a:gd name="T9" fmla="*/ 16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7" h="644">
                  <a:moveTo>
                    <a:pt x="72" y="163"/>
                  </a:moveTo>
                  <a:lnTo>
                    <a:pt x="1607" y="0"/>
                  </a:lnTo>
                  <a:lnTo>
                    <a:pt x="1797" y="367"/>
                  </a:lnTo>
                  <a:lnTo>
                    <a:pt x="0" y="644"/>
                  </a:lnTo>
                  <a:lnTo>
                    <a:pt x="72" y="16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6516E2C9-3163-4FF1-A8A2-F6BF9E95D542}"/>
              </a:ext>
            </a:extLst>
          </p:cNvPr>
          <p:cNvSpPr txBox="1"/>
          <p:nvPr/>
        </p:nvSpPr>
        <p:spPr>
          <a:xfrm>
            <a:off x="3386579" y="2531268"/>
            <a:ext cx="1511678" cy="811367"/>
          </a:xfrm>
          <a:prstGeom prst="rect">
            <a:avLst/>
          </a:prstGeom>
          <a:noFill/>
        </p:spPr>
        <p:txBody>
          <a:bodyPr wrap="square" lIns="72000" tIns="36000" rIns="72000" bIns="36000" rtlCol="0" anchor="b">
            <a:spAutoFit/>
          </a:bodyPr>
          <a:lstStyle/>
          <a:p>
            <a:pPr algn="r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Расчет вариантов кооперации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309F4FB4-E229-4B84-A9AA-3FC7E8BF9D07}"/>
              </a:ext>
            </a:extLst>
          </p:cNvPr>
          <p:cNvSpPr txBox="1"/>
          <p:nvPr/>
        </p:nvSpPr>
        <p:spPr>
          <a:xfrm>
            <a:off x="8860759" y="3347142"/>
            <a:ext cx="3149498" cy="565146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Мультиагентские сети, </a:t>
            </a:r>
          </a:p>
          <a:p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децентрализованное управление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B497D7A5-E9AB-47BF-8067-B1429E751DD1}"/>
              </a:ext>
            </a:extLst>
          </p:cNvPr>
          <p:cNvSpPr txBox="1"/>
          <p:nvPr/>
        </p:nvSpPr>
        <p:spPr>
          <a:xfrm>
            <a:off x="9850592" y="4948884"/>
            <a:ext cx="1807143" cy="565146"/>
          </a:xfrm>
          <a:prstGeom prst="rect">
            <a:avLst/>
          </a:prstGeom>
          <a:noFill/>
        </p:spPr>
        <p:txBody>
          <a:bodyPr wrap="none" lIns="72000" tIns="36000" rIns="72000" bIns="36000" rtlCol="0" anchor="b">
            <a:spAutoFit/>
          </a:bodyPr>
          <a:lstStyle/>
          <a:p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Управление через </a:t>
            </a:r>
          </a:p>
          <a:p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трудоемкость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2864867C-D0FC-4302-8F52-D53142EB3692}"/>
              </a:ext>
            </a:extLst>
          </p:cNvPr>
          <p:cNvSpPr txBox="1"/>
          <p:nvPr/>
        </p:nvSpPr>
        <p:spPr>
          <a:xfrm>
            <a:off x="2583748" y="4174099"/>
            <a:ext cx="1511678" cy="565146"/>
          </a:xfrm>
          <a:prstGeom prst="rect">
            <a:avLst/>
          </a:prstGeom>
          <a:noFill/>
        </p:spPr>
        <p:txBody>
          <a:bodyPr wrap="square" lIns="72000" tIns="36000" rIns="72000" bIns="36000" rtlCol="0" anchor="b">
            <a:spAutoFit/>
          </a:bodyPr>
          <a:lstStyle/>
          <a:p>
            <a:pPr algn="r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Внутренний рынок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6C06BBFA-DC0C-4CCA-A840-C7BC77E021E6}"/>
              </a:ext>
            </a:extLst>
          </p:cNvPr>
          <p:cNvSpPr txBox="1"/>
          <p:nvPr/>
        </p:nvSpPr>
        <p:spPr>
          <a:xfrm>
            <a:off x="1949791" y="5645172"/>
            <a:ext cx="1511678" cy="565146"/>
          </a:xfrm>
          <a:prstGeom prst="rect">
            <a:avLst/>
          </a:prstGeom>
          <a:noFill/>
        </p:spPr>
        <p:txBody>
          <a:bodyPr wrap="square" lIns="72000" tIns="36000" rIns="72000" bIns="36000" rtlCol="0" anchor="b">
            <a:spAutoFit/>
          </a:bodyPr>
          <a:lstStyle/>
          <a:p>
            <a:pPr algn="r"/>
            <a:r>
              <a:rPr lang="ru-RU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Проекты и задачи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48" name="Oval 17">
            <a:extLst>
              <a:ext uri="{FF2B5EF4-FFF2-40B4-BE49-F238E27FC236}">
                <a16:creationId xmlns:a16="http://schemas.microsoft.com/office/drawing/2014/main" id="{704C28A1-EE35-4CE1-8402-3B5FE5E203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6680" y="4255950"/>
            <a:ext cx="504000" cy="502457"/>
          </a:xfrm>
          <a:prstGeom prst="ellipse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Oval 9">
            <a:extLst>
              <a:ext uri="{FF2B5EF4-FFF2-40B4-BE49-F238E27FC236}">
                <a16:creationId xmlns:a16="http://schemas.microsoft.com/office/drawing/2014/main" id="{2096889C-152C-4B1A-A4F0-976B31C7F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6757" y="5014927"/>
            <a:ext cx="504000" cy="504000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Oval 11">
            <a:extLst>
              <a:ext uri="{FF2B5EF4-FFF2-40B4-BE49-F238E27FC236}">
                <a16:creationId xmlns:a16="http://schemas.microsoft.com/office/drawing/2014/main" id="{659A4576-915C-4C43-94F4-1E8C753BE4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772" y="2715471"/>
            <a:ext cx="504000" cy="504772"/>
          </a:xfrm>
          <a:prstGeom prst="ellipse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Oval 13">
            <a:extLst>
              <a:ext uri="{FF2B5EF4-FFF2-40B4-BE49-F238E27FC236}">
                <a16:creationId xmlns:a16="http://schemas.microsoft.com/office/drawing/2014/main" id="{A2727C82-C2FC-4D5B-964B-A9E00DA21D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7711" y="3456910"/>
            <a:ext cx="504000" cy="502456"/>
          </a:xfrm>
          <a:prstGeom prst="ellipse">
            <a:avLst/>
          </a:pr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Oval 7">
            <a:extLst>
              <a:ext uri="{FF2B5EF4-FFF2-40B4-BE49-F238E27FC236}">
                <a16:creationId xmlns:a16="http://schemas.microsoft.com/office/drawing/2014/main" id="{2EF1C595-358E-4B2F-83BD-E79E90858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0366" y="5645172"/>
            <a:ext cx="504000" cy="504000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317449" y="1617538"/>
            <a:ext cx="2747927" cy="626701"/>
          </a:xfrm>
          <a:prstGeom prst="rect">
            <a:avLst/>
          </a:prstGeom>
          <a:noFill/>
        </p:spPr>
        <p:txBody>
          <a:bodyPr wrap="square" lIns="72000" tIns="36000" rIns="72000" bIns="36000" rtlCol="0" anchor="b">
            <a:spAutoFit/>
          </a:bodyPr>
          <a:lstStyle/>
          <a:p>
            <a:pPr algn="ctr"/>
            <a:r>
              <a:rPr lang="bg-BG" sz="1800" dirty="0">
                <a:solidFill>
                  <a:schemeClr val="accent3">
                    <a:lumMod val="75000"/>
                  </a:schemeClr>
                </a:solidFill>
                <a:cs typeface="Arial" panose="020B0604020202020204" pitchFamily="34" charset="0"/>
              </a:rPr>
              <a:t>Этапы становления </a:t>
            </a:r>
            <a:endParaRPr lang="bg-BG" sz="1800" dirty="0" smtClean="0">
              <a:solidFill>
                <a:schemeClr val="accent3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ctr"/>
            <a:r>
              <a:rPr lang="bg-BG" sz="1800" dirty="0" smtClean="0">
                <a:solidFill>
                  <a:schemeClr val="accent3">
                    <a:lumMod val="75000"/>
                  </a:schemeClr>
                </a:solidFill>
                <a:cs typeface="Arial" panose="020B0604020202020204" pitchFamily="34" charset="0"/>
              </a:rPr>
              <a:t>системы управления</a:t>
            </a:r>
            <a:endParaRPr lang="ru-RU" sz="1800" dirty="0">
              <a:solidFill>
                <a:schemeClr val="accent3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81458" y="908219"/>
            <a:ext cx="2658907" cy="249299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стоит из: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Заготовок НСИ (приказы, регламенты, должностные инструкции, инструкции пользователей)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Базового набора ролей 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бора процессов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Шаблонов документов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бора метрик и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KPI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ных модулей информационной системы, собираемых воедино под конкретный заказ (паззлы)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7" name="Group 3"/>
          <p:cNvGrpSpPr/>
          <p:nvPr/>
        </p:nvGrpSpPr>
        <p:grpSpPr>
          <a:xfrm>
            <a:off x="9416972" y="951627"/>
            <a:ext cx="2007491" cy="1604321"/>
            <a:chOff x="5996659" y="1151654"/>
            <a:chExt cx="6195341" cy="4930871"/>
          </a:xfrm>
        </p:grpSpPr>
        <p:sp>
          <p:nvSpPr>
            <p:cNvPr id="149" name="Shape 5055"/>
            <p:cNvSpPr/>
            <p:nvPr/>
          </p:nvSpPr>
          <p:spPr>
            <a:xfrm>
              <a:off x="5996659" y="2742134"/>
              <a:ext cx="1784893" cy="17949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5260" y="49423"/>
                  </a:moveTo>
                  <a:lnTo>
                    <a:pt x="114301" y="50039"/>
                  </a:lnTo>
                  <a:lnTo>
                    <a:pt x="113399" y="50656"/>
                  </a:lnTo>
                  <a:lnTo>
                    <a:pt x="112552" y="51300"/>
                  </a:lnTo>
                  <a:lnTo>
                    <a:pt x="111763" y="51916"/>
                  </a:lnTo>
                  <a:lnTo>
                    <a:pt x="110211" y="53177"/>
                  </a:lnTo>
                  <a:lnTo>
                    <a:pt x="108716" y="54354"/>
                  </a:lnTo>
                  <a:lnTo>
                    <a:pt x="107926" y="54942"/>
                  </a:lnTo>
                  <a:lnTo>
                    <a:pt x="107108" y="55531"/>
                  </a:lnTo>
                  <a:lnTo>
                    <a:pt x="106205" y="56119"/>
                  </a:lnTo>
                  <a:lnTo>
                    <a:pt x="105303" y="56651"/>
                  </a:lnTo>
                  <a:lnTo>
                    <a:pt x="104259" y="57184"/>
                  </a:lnTo>
                  <a:lnTo>
                    <a:pt x="103159" y="57688"/>
                  </a:lnTo>
                  <a:lnTo>
                    <a:pt x="102566" y="57940"/>
                  </a:lnTo>
                  <a:lnTo>
                    <a:pt x="101946" y="58192"/>
                  </a:lnTo>
                  <a:lnTo>
                    <a:pt x="101297" y="58416"/>
                  </a:lnTo>
                  <a:lnTo>
                    <a:pt x="100620" y="58641"/>
                  </a:lnTo>
                  <a:lnTo>
                    <a:pt x="99830" y="58753"/>
                  </a:lnTo>
                  <a:lnTo>
                    <a:pt x="99040" y="58781"/>
                  </a:lnTo>
                  <a:lnTo>
                    <a:pt x="98251" y="58809"/>
                  </a:lnTo>
                  <a:lnTo>
                    <a:pt x="97489" y="58781"/>
                  </a:lnTo>
                  <a:lnTo>
                    <a:pt x="96727" y="58697"/>
                  </a:lnTo>
                  <a:lnTo>
                    <a:pt x="95994" y="58613"/>
                  </a:lnTo>
                  <a:lnTo>
                    <a:pt x="95232" y="58473"/>
                  </a:lnTo>
                  <a:lnTo>
                    <a:pt x="94527" y="58276"/>
                  </a:lnTo>
                  <a:lnTo>
                    <a:pt x="93765" y="58080"/>
                  </a:lnTo>
                  <a:lnTo>
                    <a:pt x="93060" y="57856"/>
                  </a:lnTo>
                  <a:lnTo>
                    <a:pt x="92383" y="57548"/>
                  </a:lnTo>
                  <a:lnTo>
                    <a:pt x="91706" y="57268"/>
                  </a:lnTo>
                  <a:lnTo>
                    <a:pt x="91029" y="56904"/>
                  </a:lnTo>
                  <a:lnTo>
                    <a:pt x="90409" y="56567"/>
                  </a:lnTo>
                  <a:lnTo>
                    <a:pt x="89788" y="56147"/>
                  </a:lnTo>
                  <a:lnTo>
                    <a:pt x="89167" y="55699"/>
                  </a:lnTo>
                  <a:lnTo>
                    <a:pt x="88631" y="55279"/>
                  </a:lnTo>
                  <a:lnTo>
                    <a:pt x="88067" y="54774"/>
                  </a:lnTo>
                  <a:lnTo>
                    <a:pt x="87531" y="54270"/>
                  </a:lnTo>
                  <a:lnTo>
                    <a:pt x="86995" y="53766"/>
                  </a:lnTo>
                  <a:lnTo>
                    <a:pt x="86516" y="53205"/>
                  </a:lnTo>
                  <a:lnTo>
                    <a:pt x="86064" y="52617"/>
                  </a:lnTo>
                  <a:lnTo>
                    <a:pt x="85641" y="52000"/>
                  </a:lnTo>
                  <a:lnTo>
                    <a:pt x="85218" y="51384"/>
                  </a:lnTo>
                  <a:lnTo>
                    <a:pt x="84851" y="50712"/>
                  </a:lnTo>
                  <a:lnTo>
                    <a:pt x="84513" y="50039"/>
                  </a:lnTo>
                  <a:lnTo>
                    <a:pt x="84203" y="49367"/>
                  </a:lnTo>
                  <a:lnTo>
                    <a:pt x="83921" y="48666"/>
                  </a:lnTo>
                  <a:lnTo>
                    <a:pt x="83695" y="47938"/>
                  </a:lnTo>
                  <a:lnTo>
                    <a:pt x="83497" y="47181"/>
                  </a:lnTo>
                  <a:lnTo>
                    <a:pt x="83328" y="46425"/>
                  </a:lnTo>
                  <a:lnTo>
                    <a:pt x="83187" y="45668"/>
                  </a:lnTo>
                  <a:lnTo>
                    <a:pt x="83102" y="44912"/>
                  </a:lnTo>
                  <a:lnTo>
                    <a:pt x="83046" y="44127"/>
                  </a:lnTo>
                  <a:lnTo>
                    <a:pt x="83046" y="43371"/>
                  </a:lnTo>
                  <a:lnTo>
                    <a:pt x="83046" y="42614"/>
                  </a:lnTo>
                  <a:lnTo>
                    <a:pt x="83131" y="41886"/>
                  </a:lnTo>
                  <a:lnTo>
                    <a:pt x="83215" y="41158"/>
                  </a:lnTo>
                  <a:lnTo>
                    <a:pt x="83356" y="40429"/>
                  </a:lnTo>
                  <a:lnTo>
                    <a:pt x="83526" y="39729"/>
                  </a:lnTo>
                  <a:lnTo>
                    <a:pt x="83723" y="39028"/>
                  </a:lnTo>
                  <a:lnTo>
                    <a:pt x="83921" y="38356"/>
                  </a:lnTo>
                  <a:lnTo>
                    <a:pt x="84203" y="37683"/>
                  </a:lnTo>
                  <a:lnTo>
                    <a:pt x="84485" y="37011"/>
                  </a:lnTo>
                  <a:lnTo>
                    <a:pt x="84823" y="36367"/>
                  </a:lnTo>
                  <a:lnTo>
                    <a:pt x="85162" y="35750"/>
                  </a:lnTo>
                  <a:lnTo>
                    <a:pt x="85557" y="35134"/>
                  </a:lnTo>
                  <a:lnTo>
                    <a:pt x="85980" y="34545"/>
                  </a:lnTo>
                  <a:lnTo>
                    <a:pt x="86403" y="33957"/>
                  </a:lnTo>
                  <a:lnTo>
                    <a:pt x="86882" y="33453"/>
                  </a:lnTo>
                  <a:lnTo>
                    <a:pt x="87390" y="32892"/>
                  </a:lnTo>
                  <a:lnTo>
                    <a:pt x="87870" y="32388"/>
                  </a:lnTo>
                  <a:lnTo>
                    <a:pt x="88406" y="31912"/>
                  </a:lnTo>
                  <a:lnTo>
                    <a:pt x="88970" y="31463"/>
                  </a:lnTo>
                  <a:lnTo>
                    <a:pt x="89562" y="31015"/>
                  </a:lnTo>
                  <a:lnTo>
                    <a:pt x="90183" y="30651"/>
                  </a:lnTo>
                  <a:lnTo>
                    <a:pt x="90803" y="30259"/>
                  </a:lnTo>
                  <a:lnTo>
                    <a:pt x="91452" y="29894"/>
                  </a:lnTo>
                  <a:lnTo>
                    <a:pt x="92129" y="29586"/>
                  </a:lnTo>
                  <a:lnTo>
                    <a:pt x="92806" y="29306"/>
                  </a:lnTo>
                  <a:lnTo>
                    <a:pt x="93511" y="29026"/>
                  </a:lnTo>
                  <a:lnTo>
                    <a:pt x="94217" y="28830"/>
                  </a:lnTo>
                  <a:lnTo>
                    <a:pt x="94950" y="28634"/>
                  </a:lnTo>
                  <a:lnTo>
                    <a:pt x="95712" y="28466"/>
                  </a:lnTo>
                  <a:lnTo>
                    <a:pt x="96022" y="28409"/>
                  </a:lnTo>
                  <a:lnTo>
                    <a:pt x="96304" y="28381"/>
                  </a:lnTo>
                  <a:lnTo>
                    <a:pt x="96784" y="28325"/>
                  </a:lnTo>
                  <a:lnTo>
                    <a:pt x="97291" y="28297"/>
                  </a:lnTo>
                  <a:lnTo>
                    <a:pt x="97743" y="28269"/>
                  </a:lnTo>
                  <a:lnTo>
                    <a:pt x="98222" y="28297"/>
                  </a:lnTo>
                  <a:lnTo>
                    <a:pt x="98730" y="28325"/>
                  </a:lnTo>
                  <a:lnTo>
                    <a:pt x="99210" y="28353"/>
                  </a:lnTo>
                  <a:lnTo>
                    <a:pt x="99689" y="28438"/>
                  </a:lnTo>
                  <a:lnTo>
                    <a:pt x="100169" y="28494"/>
                  </a:lnTo>
                  <a:lnTo>
                    <a:pt x="101156" y="28718"/>
                  </a:lnTo>
                  <a:lnTo>
                    <a:pt x="102143" y="28970"/>
                  </a:lnTo>
                  <a:lnTo>
                    <a:pt x="103159" y="29306"/>
                  </a:lnTo>
                  <a:lnTo>
                    <a:pt x="104146" y="29614"/>
                  </a:lnTo>
                  <a:lnTo>
                    <a:pt x="106177" y="30371"/>
                  </a:lnTo>
                  <a:lnTo>
                    <a:pt x="108349" y="31155"/>
                  </a:lnTo>
                  <a:lnTo>
                    <a:pt x="109421" y="31547"/>
                  </a:lnTo>
                  <a:lnTo>
                    <a:pt x="110550" y="31884"/>
                  </a:lnTo>
                  <a:lnTo>
                    <a:pt x="111706" y="32248"/>
                  </a:lnTo>
                  <a:lnTo>
                    <a:pt x="112863" y="32528"/>
                  </a:lnTo>
                  <a:lnTo>
                    <a:pt x="108236" y="0"/>
                  </a:lnTo>
                  <a:lnTo>
                    <a:pt x="24880" y="11683"/>
                  </a:lnTo>
                  <a:lnTo>
                    <a:pt x="29506" y="44071"/>
                  </a:lnTo>
                  <a:lnTo>
                    <a:pt x="28349" y="43791"/>
                  </a:lnTo>
                  <a:lnTo>
                    <a:pt x="27221" y="43427"/>
                  </a:lnTo>
                  <a:lnTo>
                    <a:pt x="26149" y="43063"/>
                  </a:lnTo>
                  <a:lnTo>
                    <a:pt x="25049" y="42699"/>
                  </a:lnTo>
                  <a:lnTo>
                    <a:pt x="22990" y="41914"/>
                  </a:lnTo>
                  <a:lnTo>
                    <a:pt x="20959" y="41186"/>
                  </a:lnTo>
                  <a:lnTo>
                    <a:pt x="19971" y="40877"/>
                  </a:lnTo>
                  <a:lnTo>
                    <a:pt x="19012" y="40569"/>
                  </a:lnTo>
                  <a:lnTo>
                    <a:pt x="18025" y="40345"/>
                  </a:lnTo>
                  <a:lnTo>
                    <a:pt x="17066" y="40149"/>
                  </a:lnTo>
                  <a:lnTo>
                    <a:pt x="16586" y="40037"/>
                  </a:lnTo>
                  <a:lnTo>
                    <a:pt x="16107" y="39981"/>
                  </a:lnTo>
                  <a:lnTo>
                    <a:pt x="15655" y="39953"/>
                  </a:lnTo>
                  <a:lnTo>
                    <a:pt x="15148" y="39925"/>
                  </a:lnTo>
                  <a:lnTo>
                    <a:pt x="14668" y="39897"/>
                  </a:lnTo>
                  <a:lnTo>
                    <a:pt x="14217" y="39925"/>
                  </a:lnTo>
                  <a:lnTo>
                    <a:pt x="13737" y="39953"/>
                  </a:lnTo>
                  <a:lnTo>
                    <a:pt x="13258" y="40009"/>
                  </a:lnTo>
                  <a:lnTo>
                    <a:pt x="12976" y="40037"/>
                  </a:lnTo>
                  <a:lnTo>
                    <a:pt x="12665" y="40093"/>
                  </a:lnTo>
                  <a:lnTo>
                    <a:pt x="11932" y="40261"/>
                  </a:lnTo>
                  <a:lnTo>
                    <a:pt x="11198" y="40457"/>
                  </a:lnTo>
                  <a:lnTo>
                    <a:pt x="10465" y="40653"/>
                  </a:lnTo>
                  <a:lnTo>
                    <a:pt x="9760" y="40933"/>
                  </a:lnTo>
                  <a:lnTo>
                    <a:pt x="9083" y="41214"/>
                  </a:lnTo>
                  <a:lnTo>
                    <a:pt x="8406" y="41550"/>
                  </a:lnTo>
                  <a:lnTo>
                    <a:pt x="7757" y="41886"/>
                  </a:lnTo>
                  <a:lnTo>
                    <a:pt x="7136" y="42250"/>
                  </a:lnTo>
                  <a:lnTo>
                    <a:pt x="6544" y="42643"/>
                  </a:lnTo>
                  <a:lnTo>
                    <a:pt x="5952" y="43091"/>
                  </a:lnTo>
                  <a:lnTo>
                    <a:pt x="5387" y="43567"/>
                  </a:lnTo>
                  <a:lnTo>
                    <a:pt x="4823" y="44015"/>
                  </a:lnTo>
                  <a:lnTo>
                    <a:pt x="4344" y="44520"/>
                  </a:lnTo>
                  <a:lnTo>
                    <a:pt x="3836" y="45052"/>
                  </a:lnTo>
                  <a:lnTo>
                    <a:pt x="3385" y="45612"/>
                  </a:lnTo>
                  <a:lnTo>
                    <a:pt x="2933" y="46173"/>
                  </a:lnTo>
                  <a:lnTo>
                    <a:pt x="2538" y="46761"/>
                  </a:lnTo>
                  <a:lnTo>
                    <a:pt x="2143" y="47378"/>
                  </a:lnTo>
                  <a:lnTo>
                    <a:pt x="1805" y="47994"/>
                  </a:lnTo>
                  <a:lnTo>
                    <a:pt x="1466" y="48638"/>
                  </a:lnTo>
                  <a:lnTo>
                    <a:pt x="1184" y="49283"/>
                  </a:lnTo>
                  <a:lnTo>
                    <a:pt x="902" y="49955"/>
                  </a:lnTo>
                  <a:lnTo>
                    <a:pt x="677" y="50656"/>
                  </a:lnTo>
                  <a:lnTo>
                    <a:pt x="479" y="51356"/>
                  </a:lnTo>
                  <a:lnTo>
                    <a:pt x="310" y="52056"/>
                  </a:lnTo>
                  <a:lnTo>
                    <a:pt x="169" y="52785"/>
                  </a:lnTo>
                  <a:lnTo>
                    <a:pt x="84" y="53513"/>
                  </a:lnTo>
                  <a:lnTo>
                    <a:pt x="28" y="54242"/>
                  </a:lnTo>
                  <a:lnTo>
                    <a:pt x="0" y="54998"/>
                  </a:lnTo>
                  <a:lnTo>
                    <a:pt x="0" y="55783"/>
                  </a:lnTo>
                  <a:lnTo>
                    <a:pt x="56" y="56511"/>
                  </a:lnTo>
                  <a:lnTo>
                    <a:pt x="141" y="57296"/>
                  </a:lnTo>
                  <a:lnTo>
                    <a:pt x="282" y="58052"/>
                  </a:lnTo>
                  <a:lnTo>
                    <a:pt x="451" y="58809"/>
                  </a:lnTo>
                  <a:lnTo>
                    <a:pt x="648" y="59565"/>
                  </a:lnTo>
                  <a:lnTo>
                    <a:pt x="874" y="60266"/>
                  </a:lnTo>
                  <a:lnTo>
                    <a:pt x="1184" y="60994"/>
                  </a:lnTo>
                  <a:lnTo>
                    <a:pt x="1466" y="61667"/>
                  </a:lnTo>
                  <a:lnTo>
                    <a:pt x="1833" y="62339"/>
                  </a:lnTo>
                  <a:lnTo>
                    <a:pt x="2172" y="62983"/>
                  </a:lnTo>
                  <a:lnTo>
                    <a:pt x="2595" y="63628"/>
                  </a:lnTo>
                  <a:lnTo>
                    <a:pt x="3046" y="64244"/>
                  </a:lnTo>
                  <a:lnTo>
                    <a:pt x="3469" y="64833"/>
                  </a:lnTo>
                  <a:lnTo>
                    <a:pt x="3977" y="65393"/>
                  </a:lnTo>
                  <a:lnTo>
                    <a:pt x="4485" y="65897"/>
                  </a:lnTo>
                  <a:lnTo>
                    <a:pt x="5021" y="66402"/>
                  </a:lnTo>
                  <a:lnTo>
                    <a:pt x="5557" y="66906"/>
                  </a:lnTo>
                  <a:lnTo>
                    <a:pt x="6149" y="67354"/>
                  </a:lnTo>
                  <a:lnTo>
                    <a:pt x="6741" y="67774"/>
                  </a:lnTo>
                  <a:lnTo>
                    <a:pt x="7362" y="68195"/>
                  </a:lnTo>
                  <a:lnTo>
                    <a:pt x="8011" y="68531"/>
                  </a:lnTo>
                  <a:lnTo>
                    <a:pt x="8660" y="68895"/>
                  </a:lnTo>
                  <a:lnTo>
                    <a:pt x="9337" y="69175"/>
                  </a:lnTo>
                  <a:lnTo>
                    <a:pt x="10014" y="69484"/>
                  </a:lnTo>
                  <a:lnTo>
                    <a:pt x="10719" y="69708"/>
                  </a:lnTo>
                  <a:lnTo>
                    <a:pt x="11452" y="69904"/>
                  </a:lnTo>
                  <a:lnTo>
                    <a:pt x="12214" y="70100"/>
                  </a:lnTo>
                  <a:lnTo>
                    <a:pt x="12947" y="70240"/>
                  </a:lnTo>
                  <a:lnTo>
                    <a:pt x="13681" y="70324"/>
                  </a:lnTo>
                  <a:lnTo>
                    <a:pt x="14442" y="70408"/>
                  </a:lnTo>
                  <a:lnTo>
                    <a:pt x="15204" y="70408"/>
                  </a:lnTo>
                  <a:lnTo>
                    <a:pt x="15994" y="70408"/>
                  </a:lnTo>
                  <a:lnTo>
                    <a:pt x="16755" y="70352"/>
                  </a:lnTo>
                  <a:lnTo>
                    <a:pt x="17574" y="70268"/>
                  </a:lnTo>
                  <a:lnTo>
                    <a:pt x="18251" y="70072"/>
                  </a:lnTo>
                  <a:lnTo>
                    <a:pt x="18899" y="69820"/>
                  </a:lnTo>
                  <a:lnTo>
                    <a:pt x="19492" y="69596"/>
                  </a:lnTo>
                  <a:lnTo>
                    <a:pt x="20056" y="69343"/>
                  </a:lnTo>
                  <a:lnTo>
                    <a:pt x="21156" y="68839"/>
                  </a:lnTo>
                  <a:lnTo>
                    <a:pt x="22172" y="68307"/>
                  </a:lnTo>
                  <a:lnTo>
                    <a:pt x="23102" y="67774"/>
                  </a:lnTo>
                  <a:lnTo>
                    <a:pt x="23949" y="67214"/>
                  </a:lnTo>
                  <a:lnTo>
                    <a:pt x="24795" y="66682"/>
                  </a:lnTo>
                  <a:lnTo>
                    <a:pt x="25557" y="66093"/>
                  </a:lnTo>
                  <a:lnTo>
                    <a:pt x="27052" y="64889"/>
                  </a:lnTo>
                  <a:lnTo>
                    <a:pt x="28519" y="63684"/>
                  </a:lnTo>
                  <a:lnTo>
                    <a:pt x="29337" y="63067"/>
                  </a:lnTo>
                  <a:lnTo>
                    <a:pt x="30126" y="62451"/>
                  </a:lnTo>
                  <a:lnTo>
                    <a:pt x="31001" y="61863"/>
                  </a:lnTo>
                  <a:lnTo>
                    <a:pt x="31960" y="61246"/>
                  </a:lnTo>
                  <a:lnTo>
                    <a:pt x="36671" y="94307"/>
                  </a:lnTo>
                  <a:lnTo>
                    <a:pt x="69760" y="89712"/>
                  </a:lnTo>
                  <a:lnTo>
                    <a:pt x="69421" y="90917"/>
                  </a:lnTo>
                  <a:lnTo>
                    <a:pt x="69111" y="92122"/>
                  </a:lnTo>
                  <a:lnTo>
                    <a:pt x="68716" y="93299"/>
                  </a:lnTo>
                  <a:lnTo>
                    <a:pt x="68349" y="94447"/>
                  </a:lnTo>
                  <a:lnTo>
                    <a:pt x="67531" y="96633"/>
                  </a:lnTo>
                  <a:lnTo>
                    <a:pt x="66713" y="98762"/>
                  </a:lnTo>
                  <a:lnTo>
                    <a:pt x="66375" y="99799"/>
                  </a:lnTo>
                  <a:lnTo>
                    <a:pt x="66036" y="100835"/>
                  </a:lnTo>
                  <a:lnTo>
                    <a:pt x="65754" y="101844"/>
                  </a:lnTo>
                  <a:lnTo>
                    <a:pt x="65557" y="102853"/>
                  </a:lnTo>
                  <a:lnTo>
                    <a:pt x="65444" y="103357"/>
                  </a:lnTo>
                  <a:lnTo>
                    <a:pt x="65359" y="103861"/>
                  </a:lnTo>
                  <a:lnTo>
                    <a:pt x="65303" y="104366"/>
                  </a:lnTo>
                  <a:lnTo>
                    <a:pt x="65275" y="104870"/>
                  </a:lnTo>
                  <a:lnTo>
                    <a:pt x="65275" y="105374"/>
                  </a:lnTo>
                  <a:lnTo>
                    <a:pt x="65275" y="105851"/>
                  </a:lnTo>
                  <a:lnTo>
                    <a:pt x="65303" y="106355"/>
                  </a:lnTo>
                  <a:lnTo>
                    <a:pt x="65359" y="106859"/>
                  </a:lnTo>
                  <a:lnTo>
                    <a:pt x="65416" y="107139"/>
                  </a:lnTo>
                  <a:lnTo>
                    <a:pt x="65472" y="107448"/>
                  </a:lnTo>
                  <a:lnTo>
                    <a:pt x="65641" y="108176"/>
                  </a:lnTo>
                  <a:lnTo>
                    <a:pt x="65811" y="108904"/>
                  </a:lnTo>
                  <a:lnTo>
                    <a:pt x="66036" y="109633"/>
                  </a:lnTo>
                  <a:lnTo>
                    <a:pt x="66318" y="110305"/>
                  </a:lnTo>
                  <a:lnTo>
                    <a:pt x="66572" y="111006"/>
                  </a:lnTo>
                  <a:lnTo>
                    <a:pt x="66911" y="111650"/>
                  </a:lnTo>
                  <a:lnTo>
                    <a:pt x="67249" y="112295"/>
                  </a:lnTo>
                  <a:lnTo>
                    <a:pt x="67644" y="112939"/>
                  </a:lnTo>
                  <a:lnTo>
                    <a:pt x="68039" y="113527"/>
                  </a:lnTo>
                  <a:lnTo>
                    <a:pt x="68490" y="114088"/>
                  </a:lnTo>
                  <a:lnTo>
                    <a:pt x="68942" y="114648"/>
                  </a:lnTo>
                  <a:lnTo>
                    <a:pt x="69421" y="115180"/>
                  </a:lnTo>
                  <a:lnTo>
                    <a:pt x="69929" y="115713"/>
                  </a:lnTo>
                  <a:lnTo>
                    <a:pt x="70465" y="116217"/>
                  </a:lnTo>
                  <a:lnTo>
                    <a:pt x="71029" y="116637"/>
                  </a:lnTo>
                  <a:lnTo>
                    <a:pt x="71593" y="117086"/>
                  </a:lnTo>
                  <a:lnTo>
                    <a:pt x="72186" y="117478"/>
                  </a:lnTo>
                  <a:lnTo>
                    <a:pt x="72806" y="117870"/>
                  </a:lnTo>
                  <a:lnTo>
                    <a:pt x="73455" y="118234"/>
                  </a:lnTo>
                  <a:lnTo>
                    <a:pt x="74104" y="118543"/>
                  </a:lnTo>
                  <a:lnTo>
                    <a:pt x="74724" y="118823"/>
                  </a:lnTo>
                  <a:lnTo>
                    <a:pt x="75430" y="119103"/>
                  </a:lnTo>
                  <a:lnTo>
                    <a:pt x="76135" y="119327"/>
                  </a:lnTo>
                  <a:lnTo>
                    <a:pt x="76812" y="119523"/>
                  </a:lnTo>
                  <a:lnTo>
                    <a:pt x="77545" y="119691"/>
                  </a:lnTo>
                  <a:lnTo>
                    <a:pt x="78251" y="119831"/>
                  </a:lnTo>
                  <a:lnTo>
                    <a:pt x="78984" y="119915"/>
                  </a:lnTo>
                  <a:lnTo>
                    <a:pt x="79746" y="119971"/>
                  </a:lnTo>
                  <a:lnTo>
                    <a:pt x="80479" y="119999"/>
                  </a:lnTo>
                  <a:lnTo>
                    <a:pt x="81241" y="119971"/>
                  </a:lnTo>
                  <a:lnTo>
                    <a:pt x="82031" y="119943"/>
                  </a:lnTo>
                  <a:lnTo>
                    <a:pt x="82792" y="119859"/>
                  </a:lnTo>
                  <a:lnTo>
                    <a:pt x="83582" y="119719"/>
                  </a:lnTo>
                  <a:lnTo>
                    <a:pt x="84344" y="119579"/>
                  </a:lnTo>
                  <a:lnTo>
                    <a:pt x="85077" y="119355"/>
                  </a:lnTo>
                  <a:lnTo>
                    <a:pt x="85811" y="119103"/>
                  </a:lnTo>
                  <a:lnTo>
                    <a:pt x="86516" y="118823"/>
                  </a:lnTo>
                  <a:lnTo>
                    <a:pt x="87221" y="118543"/>
                  </a:lnTo>
                  <a:lnTo>
                    <a:pt x="87898" y="118206"/>
                  </a:lnTo>
                  <a:lnTo>
                    <a:pt x="88547" y="117842"/>
                  </a:lnTo>
                  <a:lnTo>
                    <a:pt x="89167" y="117422"/>
                  </a:lnTo>
                  <a:lnTo>
                    <a:pt x="89788" y="117002"/>
                  </a:lnTo>
                  <a:lnTo>
                    <a:pt x="90380" y="116553"/>
                  </a:lnTo>
                  <a:lnTo>
                    <a:pt x="90944" y="116049"/>
                  </a:lnTo>
                  <a:lnTo>
                    <a:pt x="91480" y="115573"/>
                  </a:lnTo>
                  <a:lnTo>
                    <a:pt x="92016" y="115040"/>
                  </a:lnTo>
                  <a:lnTo>
                    <a:pt x="92468" y="114480"/>
                  </a:lnTo>
                  <a:lnTo>
                    <a:pt x="92947" y="113892"/>
                  </a:lnTo>
                  <a:lnTo>
                    <a:pt x="93370" y="113303"/>
                  </a:lnTo>
                  <a:lnTo>
                    <a:pt x="93765" y="112687"/>
                  </a:lnTo>
                  <a:lnTo>
                    <a:pt x="94160" y="112042"/>
                  </a:lnTo>
                  <a:lnTo>
                    <a:pt x="94471" y="111426"/>
                  </a:lnTo>
                  <a:lnTo>
                    <a:pt x="94809" y="110754"/>
                  </a:lnTo>
                  <a:lnTo>
                    <a:pt x="95063" y="110053"/>
                  </a:lnTo>
                  <a:lnTo>
                    <a:pt x="95317" y="109325"/>
                  </a:lnTo>
                  <a:lnTo>
                    <a:pt x="95543" y="108624"/>
                  </a:lnTo>
                  <a:lnTo>
                    <a:pt x="95712" y="107896"/>
                  </a:lnTo>
                  <a:lnTo>
                    <a:pt x="95853" y="107167"/>
                  </a:lnTo>
                  <a:lnTo>
                    <a:pt x="95966" y="106411"/>
                  </a:lnTo>
                  <a:lnTo>
                    <a:pt x="96022" y="105682"/>
                  </a:lnTo>
                  <a:lnTo>
                    <a:pt x="96050" y="104898"/>
                  </a:lnTo>
                  <a:lnTo>
                    <a:pt x="96050" y="104141"/>
                  </a:lnTo>
                  <a:lnTo>
                    <a:pt x="95994" y="103357"/>
                  </a:lnTo>
                  <a:lnTo>
                    <a:pt x="95909" y="102600"/>
                  </a:lnTo>
                  <a:lnTo>
                    <a:pt x="95655" y="101872"/>
                  </a:lnTo>
                  <a:lnTo>
                    <a:pt x="95401" y="101228"/>
                  </a:lnTo>
                  <a:lnTo>
                    <a:pt x="95148" y="100583"/>
                  </a:lnTo>
                  <a:lnTo>
                    <a:pt x="94894" y="99967"/>
                  </a:lnTo>
                  <a:lnTo>
                    <a:pt x="94640" y="99378"/>
                  </a:lnTo>
                  <a:lnTo>
                    <a:pt x="94358" y="98818"/>
                  </a:lnTo>
                  <a:lnTo>
                    <a:pt x="94076" y="98286"/>
                  </a:lnTo>
                  <a:lnTo>
                    <a:pt x="93794" y="97781"/>
                  </a:lnTo>
                  <a:lnTo>
                    <a:pt x="93229" y="96829"/>
                  </a:lnTo>
                  <a:lnTo>
                    <a:pt x="92637" y="95960"/>
                  </a:lnTo>
                  <a:lnTo>
                    <a:pt x="92016" y="95120"/>
                  </a:lnTo>
                  <a:lnTo>
                    <a:pt x="91396" y="94279"/>
                  </a:lnTo>
                  <a:lnTo>
                    <a:pt x="90126" y="92738"/>
                  </a:lnTo>
                  <a:lnTo>
                    <a:pt x="88801" y="91169"/>
                  </a:lnTo>
                  <a:lnTo>
                    <a:pt x="88152" y="90301"/>
                  </a:lnTo>
                  <a:lnTo>
                    <a:pt x="87503" y="89404"/>
                  </a:lnTo>
                  <a:lnTo>
                    <a:pt x="86854" y="88452"/>
                  </a:lnTo>
                  <a:lnTo>
                    <a:pt x="86205" y="87387"/>
                  </a:lnTo>
                  <a:lnTo>
                    <a:pt x="120000" y="82652"/>
                  </a:lnTo>
                  <a:lnTo>
                    <a:pt x="115260" y="4942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Shape 5056"/>
            <p:cNvSpPr/>
            <p:nvPr/>
          </p:nvSpPr>
          <p:spPr>
            <a:xfrm>
              <a:off x="7913904" y="2960400"/>
              <a:ext cx="1798313" cy="178153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2573" y="24101"/>
                  </a:moveTo>
                  <a:lnTo>
                    <a:pt x="101874" y="24327"/>
                  </a:lnTo>
                  <a:lnTo>
                    <a:pt x="101202" y="24610"/>
                  </a:lnTo>
                  <a:lnTo>
                    <a:pt x="100559" y="24836"/>
                  </a:lnTo>
                  <a:lnTo>
                    <a:pt x="99944" y="25090"/>
                  </a:lnTo>
                  <a:lnTo>
                    <a:pt x="99356" y="25373"/>
                  </a:lnTo>
                  <a:lnTo>
                    <a:pt x="98797" y="25627"/>
                  </a:lnTo>
                  <a:lnTo>
                    <a:pt x="98265" y="25938"/>
                  </a:lnTo>
                  <a:lnTo>
                    <a:pt x="97790" y="26192"/>
                  </a:lnTo>
                  <a:lnTo>
                    <a:pt x="96811" y="26785"/>
                  </a:lnTo>
                  <a:lnTo>
                    <a:pt x="95944" y="27379"/>
                  </a:lnTo>
                  <a:lnTo>
                    <a:pt x="95104" y="28000"/>
                  </a:lnTo>
                  <a:lnTo>
                    <a:pt x="94293" y="28594"/>
                  </a:lnTo>
                  <a:lnTo>
                    <a:pt x="92727" y="29865"/>
                  </a:lnTo>
                  <a:lnTo>
                    <a:pt x="91160" y="31193"/>
                  </a:lnTo>
                  <a:lnTo>
                    <a:pt x="90293" y="31843"/>
                  </a:lnTo>
                  <a:lnTo>
                    <a:pt x="89398" y="32493"/>
                  </a:lnTo>
                  <a:lnTo>
                    <a:pt x="88419" y="33143"/>
                  </a:lnTo>
                  <a:lnTo>
                    <a:pt x="87384" y="33793"/>
                  </a:lnTo>
                  <a:lnTo>
                    <a:pt x="82657" y="0"/>
                  </a:lnTo>
                  <a:lnTo>
                    <a:pt x="49426" y="4746"/>
                  </a:lnTo>
                  <a:lnTo>
                    <a:pt x="50041" y="5707"/>
                  </a:lnTo>
                  <a:lnTo>
                    <a:pt x="50657" y="6583"/>
                  </a:lnTo>
                  <a:lnTo>
                    <a:pt x="51300" y="7459"/>
                  </a:lnTo>
                  <a:lnTo>
                    <a:pt x="51888" y="8250"/>
                  </a:lnTo>
                  <a:lnTo>
                    <a:pt x="53146" y="9776"/>
                  </a:lnTo>
                  <a:lnTo>
                    <a:pt x="54349" y="11273"/>
                  </a:lnTo>
                  <a:lnTo>
                    <a:pt x="54937" y="12064"/>
                  </a:lnTo>
                  <a:lnTo>
                    <a:pt x="55524" y="12912"/>
                  </a:lnTo>
                  <a:lnTo>
                    <a:pt x="56111" y="13788"/>
                  </a:lnTo>
                  <a:lnTo>
                    <a:pt x="56643" y="14720"/>
                  </a:lnTo>
                  <a:lnTo>
                    <a:pt x="56923" y="15201"/>
                  </a:lnTo>
                  <a:lnTo>
                    <a:pt x="57202" y="15738"/>
                  </a:lnTo>
                  <a:lnTo>
                    <a:pt x="57426" y="16275"/>
                  </a:lnTo>
                  <a:lnTo>
                    <a:pt x="57678" y="16840"/>
                  </a:lnTo>
                  <a:lnTo>
                    <a:pt x="57930" y="17433"/>
                  </a:lnTo>
                  <a:lnTo>
                    <a:pt x="58181" y="18055"/>
                  </a:lnTo>
                  <a:lnTo>
                    <a:pt x="58405" y="18704"/>
                  </a:lnTo>
                  <a:lnTo>
                    <a:pt x="58657" y="19383"/>
                  </a:lnTo>
                  <a:lnTo>
                    <a:pt x="58741" y="20174"/>
                  </a:lnTo>
                  <a:lnTo>
                    <a:pt x="58769" y="20965"/>
                  </a:lnTo>
                  <a:lnTo>
                    <a:pt x="58797" y="21728"/>
                  </a:lnTo>
                  <a:lnTo>
                    <a:pt x="58769" y="22519"/>
                  </a:lnTo>
                  <a:lnTo>
                    <a:pt x="58713" y="23282"/>
                  </a:lnTo>
                  <a:lnTo>
                    <a:pt x="58601" y="24045"/>
                  </a:lnTo>
                  <a:lnTo>
                    <a:pt x="58433" y="24779"/>
                  </a:lnTo>
                  <a:lnTo>
                    <a:pt x="58265" y="25514"/>
                  </a:lnTo>
                  <a:lnTo>
                    <a:pt x="58069" y="26220"/>
                  </a:lnTo>
                  <a:lnTo>
                    <a:pt x="57846" y="26927"/>
                  </a:lnTo>
                  <a:lnTo>
                    <a:pt x="57566" y="27605"/>
                  </a:lnTo>
                  <a:lnTo>
                    <a:pt x="57258" y="28283"/>
                  </a:lnTo>
                  <a:lnTo>
                    <a:pt x="56895" y="28961"/>
                  </a:lnTo>
                  <a:lnTo>
                    <a:pt x="56559" y="29583"/>
                  </a:lnTo>
                  <a:lnTo>
                    <a:pt x="56139" y="30204"/>
                  </a:lnTo>
                  <a:lnTo>
                    <a:pt x="55720" y="30826"/>
                  </a:lnTo>
                  <a:lnTo>
                    <a:pt x="55272" y="31419"/>
                  </a:lnTo>
                  <a:lnTo>
                    <a:pt x="54797" y="31928"/>
                  </a:lnTo>
                  <a:lnTo>
                    <a:pt x="54265" y="32493"/>
                  </a:lnTo>
                  <a:lnTo>
                    <a:pt x="53734" y="33002"/>
                  </a:lnTo>
                  <a:lnTo>
                    <a:pt x="53174" y="33482"/>
                  </a:lnTo>
                  <a:lnTo>
                    <a:pt x="52615" y="33934"/>
                  </a:lnTo>
                  <a:lnTo>
                    <a:pt x="52000" y="34358"/>
                  </a:lnTo>
                  <a:lnTo>
                    <a:pt x="51384" y="34753"/>
                  </a:lnTo>
                  <a:lnTo>
                    <a:pt x="50713" y="35149"/>
                  </a:lnTo>
                  <a:lnTo>
                    <a:pt x="50069" y="35488"/>
                  </a:lnTo>
                  <a:lnTo>
                    <a:pt x="49370" y="35799"/>
                  </a:lnTo>
                  <a:lnTo>
                    <a:pt x="48671" y="36053"/>
                  </a:lnTo>
                  <a:lnTo>
                    <a:pt x="47916" y="36307"/>
                  </a:lnTo>
                  <a:lnTo>
                    <a:pt x="47160" y="36505"/>
                  </a:lnTo>
                  <a:lnTo>
                    <a:pt x="46405" y="36675"/>
                  </a:lnTo>
                  <a:lnTo>
                    <a:pt x="45650" y="36788"/>
                  </a:lnTo>
                  <a:lnTo>
                    <a:pt x="44895" y="36901"/>
                  </a:lnTo>
                  <a:lnTo>
                    <a:pt x="44139" y="36957"/>
                  </a:lnTo>
                  <a:lnTo>
                    <a:pt x="43356" y="36957"/>
                  </a:lnTo>
                  <a:lnTo>
                    <a:pt x="42601" y="36957"/>
                  </a:lnTo>
                  <a:lnTo>
                    <a:pt x="41874" y="36901"/>
                  </a:lnTo>
                  <a:lnTo>
                    <a:pt x="41146" y="36760"/>
                  </a:lnTo>
                  <a:lnTo>
                    <a:pt x="40419" y="36647"/>
                  </a:lnTo>
                  <a:lnTo>
                    <a:pt x="39720" y="36477"/>
                  </a:lnTo>
                  <a:lnTo>
                    <a:pt x="39020" y="36279"/>
                  </a:lnTo>
                  <a:lnTo>
                    <a:pt x="38349" y="36053"/>
                  </a:lnTo>
                  <a:lnTo>
                    <a:pt x="37678" y="35799"/>
                  </a:lnTo>
                  <a:lnTo>
                    <a:pt x="37006" y="35516"/>
                  </a:lnTo>
                  <a:lnTo>
                    <a:pt x="36363" y="35177"/>
                  </a:lnTo>
                  <a:lnTo>
                    <a:pt x="35748" y="34838"/>
                  </a:lnTo>
                  <a:lnTo>
                    <a:pt x="35132" y="34443"/>
                  </a:lnTo>
                  <a:lnTo>
                    <a:pt x="34545" y="34019"/>
                  </a:lnTo>
                  <a:lnTo>
                    <a:pt x="33958" y="33595"/>
                  </a:lnTo>
                  <a:lnTo>
                    <a:pt x="33426" y="33115"/>
                  </a:lnTo>
                  <a:lnTo>
                    <a:pt x="32895" y="32606"/>
                  </a:lnTo>
                  <a:lnTo>
                    <a:pt x="32391" y="32126"/>
                  </a:lnTo>
                  <a:lnTo>
                    <a:pt x="31916" y="31589"/>
                  </a:lnTo>
                  <a:lnTo>
                    <a:pt x="31440" y="31024"/>
                  </a:lnTo>
                  <a:lnTo>
                    <a:pt x="30993" y="30430"/>
                  </a:lnTo>
                  <a:lnTo>
                    <a:pt x="30629" y="29809"/>
                  </a:lnTo>
                  <a:lnTo>
                    <a:pt x="30237" y="29187"/>
                  </a:lnTo>
                  <a:lnTo>
                    <a:pt x="29902" y="28537"/>
                  </a:lnTo>
                  <a:lnTo>
                    <a:pt x="29566" y="27859"/>
                  </a:lnTo>
                  <a:lnTo>
                    <a:pt x="29286" y="27181"/>
                  </a:lnTo>
                  <a:lnTo>
                    <a:pt x="29034" y="26475"/>
                  </a:lnTo>
                  <a:lnTo>
                    <a:pt x="28811" y="25768"/>
                  </a:lnTo>
                  <a:lnTo>
                    <a:pt x="28615" y="25034"/>
                  </a:lnTo>
                  <a:lnTo>
                    <a:pt x="28475" y="24271"/>
                  </a:lnTo>
                  <a:lnTo>
                    <a:pt x="28391" y="24016"/>
                  </a:lnTo>
                  <a:lnTo>
                    <a:pt x="28363" y="23706"/>
                  </a:lnTo>
                  <a:lnTo>
                    <a:pt x="28307" y="23225"/>
                  </a:lnTo>
                  <a:lnTo>
                    <a:pt x="28279" y="22745"/>
                  </a:lnTo>
                  <a:lnTo>
                    <a:pt x="28279" y="22236"/>
                  </a:lnTo>
                  <a:lnTo>
                    <a:pt x="28279" y="21756"/>
                  </a:lnTo>
                  <a:lnTo>
                    <a:pt x="28307" y="21276"/>
                  </a:lnTo>
                  <a:lnTo>
                    <a:pt x="28335" y="20795"/>
                  </a:lnTo>
                  <a:lnTo>
                    <a:pt x="28447" y="20315"/>
                  </a:lnTo>
                  <a:lnTo>
                    <a:pt x="28503" y="19835"/>
                  </a:lnTo>
                  <a:lnTo>
                    <a:pt x="28727" y="18846"/>
                  </a:lnTo>
                  <a:lnTo>
                    <a:pt x="28951" y="17857"/>
                  </a:lnTo>
                  <a:lnTo>
                    <a:pt x="29286" y="16868"/>
                  </a:lnTo>
                  <a:lnTo>
                    <a:pt x="29594" y="15851"/>
                  </a:lnTo>
                  <a:lnTo>
                    <a:pt x="30349" y="13816"/>
                  </a:lnTo>
                  <a:lnTo>
                    <a:pt x="31160" y="11669"/>
                  </a:lnTo>
                  <a:lnTo>
                    <a:pt x="31524" y="10567"/>
                  </a:lnTo>
                  <a:lnTo>
                    <a:pt x="31888" y="9437"/>
                  </a:lnTo>
                  <a:lnTo>
                    <a:pt x="32223" y="8307"/>
                  </a:lnTo>
                  <a:lnTo>
                    <a:pt x="32559" y="7120"/>
                  </a:lnTo>
                  <a:lnTo>
                    <a:pt x="0" y="11754"/>
                  </a:lnTo>
                  <a:lnTo>
                    <a:pt x="11664" y="95135"/>
                  </a:lnTo>
                  <a:lnTo>
                    <a:pt x="44055" y="90501"/>
                  </a:lnTo>
                  <a:lnTo>
                    <a:pt x="43776" y="91659"/>
                  </a:lnTo>
                  <a:lnTo>
                    <a:pt x="43412" y="92761"/>
                  </a:lnTo>
                  <a:lnTo>
                    <a:pt x="43076" y="93863"/>
                  </a:lnTo>
                  <a:lnTo>
                    <a:pt x="42685" y="94937"/>
                  </a:lnTo>
                  <a:lnTo>
                    <a:pt x="41902" y="97000"/>
                  </a:lnTo>
                  <a:lnTo>
                    <a:pt x="41174" y="99034"/>
                  </a:lnTo>
                  <a:lnTo>
                    <a:pt x="40867" y="100023"/>
                  </a:lnTo>
                  <a:lnTo>
                    <a:pt x="40559" y="101012"/>
                  </a:lnTo>
                  <a:lnTo>
                    <a:pt x="40335" y="101973"/>
                  </a:lnTo>
                  <a:lnTo>
                    <a:pt x="40111" y="102933"/>
                  </a:lnTo>
                  <a:lnTo>
                    <a:pt x="40027" y="103414"/>
                  </a:lnTo>
                  <a:lnTo>
                    <a:pt x="39972" y="103866"/>
                  </a:lnTo>
                  <a:lnTo>
                    <a:pt x="39944" y="104346"/>
                  </a:lnTo>
                  <a:lnTo>
                    <a:pt x="39916" y="104855"/>
                  </a:lnTo>
                  <a:lnTo>
                    <a:pt x="39916" y="105335"/>
                  </a:lnTo>
                  <a:lnTo>
                    <a:pt x="39916" y="105787"/>
                  </a:lnTo>
                  <a:lnTo>
                    <a:pt x="39944" y="106267"/>
                  </a:lnTo>
                  <a:lnTo>
                    <a:pt x="40000" y="106748"/>
                  </a:lnTo>
                  <a:lnTo>
                    <a:pt x="40027" y="107030"/>
                  </a:lnTo>
                  <a:lnTo>
                    <a:pt x="40083" y="107313"/>
                  </a:lnTo>
                  <a:lnTo>
                    <a:pt x="40251" y="108076"/>
                  </a:lnTo>
                  <a:lnTo>
                    <a:pt x="40447" y="108810"/>
                  </a:lnTo>
                  <a:lnTo>
                    <a:pt x="40643" y="109545"/>
                  </a:lnTo>
                  <a:lnTo>
                    <a:pt x="40923" y="110251"/>
                  </a:lnTo>
                  <a:lnTo>
                    <a:pt x="41202" y="110930"/>
                  </a:lnTo>
                  <a:lnTo>
                    <a:pt x="41538" y="111608"/>
                  </a:lnTo>
                  <a:lnTo>
                    <a:pt x="41874" y="112258"/>
                  </a:lnTo>
                  <a:lnTo>
                    <a:pt x="42265" y="112879"/>
                  </a:lnTo>
                  <a:lnTo>
                    <a:pt x="42629" y="113444"/>
                  </a:lnTo>
                  <a:lnTo>
                    <a:pt x="43076" y="114038"/>
                  </a:lnTo>
                  <a:lnTo>
                    <a:pt x="43552" y="114603"/>
                  </a:lnTo>
                  <a:lnTo>
                    <a:pt x="44000" y="115168"/>
                  </a:lnTo>
                  <a:lnTo>
                    <a:pt x="44503" y="115676"/>
                  </a:lnTo>
                  <a:lnTo>
                    <a:pt x="45062" y="116157"/>
                  </a:lnTo>
                  <a:lnTo>
                    <a:pt x="45594" y="116609"/>
                  </a:lnTo>
                  <a:lnTo>
                    <a:pt x="46181" y="117061"/>
                  </a:lnTo>
                  <a:lnTo>
                    <a:pt x="46769" y="117457"/>
                  </a:lnTo>
                  <a:lnTo>
                    <a:pt x="47384" y="117852"/>
                  </a:lnTo>
                  <a:lnTo>
                    <a:pt x="47972" y="118191"/>
                  </a:lnTo>
                  <a:lnTo>
                    <a:pt x="48615" y="118530"/>
                  </a:lnTo>
                  <a:lnTo>
                    <a:pt x="49286" y="118813"/>
                  </a:lnTo>
                  <a:lnTo>
                    <a:pt x="49986" y="119095"/>
                  </a:lnTo>
                  <a:lnTo>
                    <a:pt x="50657" y="119321"/>
                  </a:lnTo>
                  <a:lnTo>
                    <a:pt x="51356" y="119519"/>
                  </a:lnTo>
                  <a:lnTo>
                    <a:pt x="52055" y="119689"/>
                  </a:lnTo>
                  <a:lnTo>
                    <a:pt x="52783" y="119830"/>
                  </a:lnTo>
                  <a:lnTo>
                    <a:pt x="53510" y="119915"/>
                  </a:lnTo>
                  <a:lnTo>
                    <a:pt x="54237" y="119971"/>
                  </a:lnTo>
                  <a:lnTo>
                    <a:pt x="54993" y="120000"/>
                  </a:lnTo>
                  <a:lnTo>
                    <a:pt x="55748" y="120000"/>
                  </a:lnTo>
                  <a:lnTo>
                    <a:pt x="56531" y="119943"/>
                  </a:lnTo>
                  <a:lnTo>
                    <a:pt x="57286" y="119858"/>
                  </a:lnTo>
                  <a:lnTo>
                    <a:pt x="58041" y="119717"/>
                  </a:lnTo>
                  <a:lnTo>
                    <a:pt x="58797" y="119547"/>
                  </a:lnTo>
                  <a:lnTo>
                    <a:pt x="59552" y="119350"/>
                  </a:lnTo>
                  <a:lnTo>
                    <a:pt x="60279" y="119124"/>
                  </a:lnTo>
                  <a:lnTo>
                    <a:pt x="60979" y="118813"/>
                  </a:lnTo>
                  <a:lnTo>
                    <a:pt x="61650" y="118530"/>
                  </a:lnTo>
                  <a:lnTo>
                    <a:pt x="62321" y="118163"/>
                  </a:lnTo>
                  <a:lnTo>
                    <a:pt x="62993" y="117824"/>
                  </a:lnTo>
                  <a:lnTo>
                    <a:pt x="63608" y="117400"/>
                  </a:lnTo>
                  <a:lnTo>
                    <a:pt x="64223" y="116976"/>
                  </a:lnTo>
                  <a:lnTo>
                    <a:pt x="64811" y="116524"/>
                  </a:lnTo>
                  <a:lnTo>
                    <a:pt x="65370" y="116044"/>
                  </a:lnTo>
                  <a:lnTo>
                    <a:pt x="65902" y="115507"/>
                  </a:lnTo>
                  <a:lnTo>
                    <a:pt x="66405" y="114998"/>
                  </a:lnTo>
                  <a:lnTo>
                    <a:pt x="66881" y="114433"/>
                  </a:lnTo>
                  <a:lnTo>
                    <a:pt x="67328" y="113868"/>
                  </a:lnTo>
                  <a:lnTo>
                    <a:pt x="67776" y="113246"/>
                  </a:lnTo>
                  <a:lnTo>
                    <a:pt x="68167" y="112625"/>
                  </a:lnTo>
                  <a:lnTo>
                    <a:pt x="68531" y="111975"/>
                  </a:lnTo>
                  <a:lnTo>
                    <a:pt x="68867" y="111325"/>
                  </a:lnTo>
                  <a:lnTo>
                    <a:pt x="69174" y="110647"/>
                  </a:lnTo>
                  <a:lnTo>
                    <a:pt x="69454" y="109969"/>
                  </a:lnTo>
                  <a:lnTo>
                    <a:pt x="69706" y="109263"/>
                  </a:lnTo>
                  <a:lnTo>
                    <a:pt x="69902" y="108528"/>
                  </a:lnTo>
                  <a:lnTo>
                    <a:pt x="70069" y="107793"/>
                  </a:lnTo>
                  <a:lnTo>
                    <a:pt x="70237" y="107059"/>
                  </a:lnTo>
                  <a:lnTo>
                    <a:pt x="70321" y="106324"/>
                  </a:lnTo>
                  <a:lnTo>
                    <a:pt x="70405" y="105561"/>
                  </a:lnTo>
                  <a:lnTo>
                    <a:pt x="70433" y="104798"/>
                  </a:lnTo>
                  <a:lnTo>
                    <a:pt x="70405" y="104007"/>
                  </a:lnTo>
                  <a:lnTo>
                    <a:pt x="70349" y="103244"/>
                  </a:lnTo>
                  <a:lnTo>
                    <a:pt x="70265" y="102425"/>
                  </a:lnTo>
                  <a:lnTo>
                    <a:pt x="70041" y="101747"/>
                  </a:lnTo>
                  <a:lnTo>
                    <a:pt x="69818" y="101125"/>
                  </a:lnTo>
                  <a:lnTo>
                    <a:pt x="69594" y="100532"/>
                  </a:lnTo>
                  <a:lnTo>
                    <a:pt x="69314" y="99938"/>
                  </a:lnTo>
                  <a:lnTo>
                    <a:pt x="68811" y="98836"/>
                  </a:lnTo>
                  <a:lnTo>
                    <a:pt x="68335" y="97847"/>
                  </a:lnTo>
                  <a:lnTo>
                    <a:pt x="67776" y="96887"/>
                  </a:lnTo>
                  <a:lnTo>
                    <a:pt x="67216" y="96039"/>
                  </a:lnTo>
                  <a:lnTo>
                    <a:pt x="66657" y="95220"/>
                  </a:lnTo>
                  <a:lnTo>
                    <a:pt x="66069" y="94457"/>
                  </a:lnTo>
                  <a:lnTo>
                    <a:pt x="64867" y="92931"/>
                  </a:lnTo>
                  <a:lnTo>
                    <a:pt x="63692" y="91462"/>
                  </a:lnTo>
                  <a:lnTo>
                    <a:pt x="63076" y="90671"/>
                  </a:lnTo>
                  <a:lnTo>
                    <a:pt x="62461" y="89851"/>
                  </a:lnTo>
                  <a:lnTo>
                    <a:pt x="61846" y="89004"/>
                  </a:lnTo>
                  <a:lnTo>
                    <a:pt x="61230" y="88043"/>
                  </a:lnTo>
                  <a:lnTo>
                    <a:pt x="94293" y="83324"/>
                  </a:lnTo>
                  <a:lnTo>
                    <a:pt x="89678" y="50266"/>
                  </a:lnTo>
                  <a:lnTo>
                    <a:pt x="90909" y="50576"/>
                  </a:lnTo>
                  <a:lnTo>
                    <a:pt x="92111" y="50887"/>
                  </a:lnTo>
                  <a:lnTo>
                    <a:pt x="93286" y="51283"/>
                  </a:lnTo>
                  <a:lnTo>
                    <a:pt x="94433" y="51650"/>
                  </a:lnTo>
                  <a:lnTo>
                    <a:pt x="96643" y="52469"/>
                  </a:lnTo>
                  <a:lnTo>
                    <a:pt x="98741" y="53289"/>
                  </a:lnTo>
                  <a:lnTo>
                    <a:pt x="99804" y="53628"/>
                  </a:lnTo>
                  <a:lnTo>
                    <a:pt x="100811" y="53967"/>
                  </a:lnTo>
                  <a:lnTo>
                    <a:pt x="101846" y="54250"/>
                  </a:lnTo>
                  <a:lnTo>
                    <a:pt x="102825" y="54447"/>
                  </a:lnTo>
                  <a:lnTo>
                    <a:pt x="103356" y="54532"/>
                  </a:lnTo>
                  <a:lnTo>
                    <a:pt x="103860" y="54645"/>
                  </a:lnTo>
                  <a:lnTo>
                    <a:pt x="104363" y="54702"/>
                  </a:lnTo>
                  <a:lnTo>
                    <a:pt x="104867" y="54730"/>
                  </a:lnTo>
                  <a:lnTo>
                    <a:pt x="105342" y="54730"/>
                  </a:lnTo>
                  <a:lnTo>
                    <a:pt x="105846" y="54730"/>
                  </a:lnTo>
                  <a:lnTo>
                    <a:pt x="106349" y="54702"/>
                  </a:lnTo>
                  <a:lnTo>
                    <a:pt x="106853" y="54645"/>
                  </a:lnTo>
                  <a:lnTo>
                    <a:pt x="107132" y="54560"/>
                  </a:lnTo>
                  <a:lnTo>
                    <a:pt x="107412" y="54504"/>
                  </a:lnTo>
                  <a:lnTo>
                    <a:pt x="108167" y="54363"/>
                  </a:lnTo>
                  <a:lnTo>
                    <a:pt x="108895" y="54193"/>
                  </a:lnTo>
                  <a:lnTo>
                    <a:pt x="109622" y="53967"/>
                  </a:lnTo>
                  <a:lnTo>
                    <a:pt x="110321" y="53684"/>
                  </a:lnTo>
                  <a:lnTo>
                    <a:pt x="110993" y="53430"/>
                  </a:lnTo>
                  <a:lnTo>
                    <a:pt x="111636" y="53091"/>
                  </a:lnTo>
                  <a:lnTo>
                    <a:pt x="112279" y="52752"/>
                  </a:lnTo>
                  <a:lnTo>
                    <a:pt x="112923" y="52356"/>
                  </a:lnTo>
                  <a:lnTo>
                    <a:pt x="113510" y="51961"/>
                  </a:lnTo>
                  <a:lnTo>
                    <a:pt x="114097" y="51537"/>
                  </a:lnTo>
                  <a:lnTo>
                    <a:pt x="114657" y="51057"/>
                  </a:lnTo>
                  <a:lnTo>
                    <a:pt x="115188" y="50576"/>
                  </a:lnTo>
                  <a:lnTo>
                    <a:pt x="115692" y="50068"/>
                  </a:lnTo>
                  <a:lnTo>
                    <a:pt x="116195" y="49531"/>
                  </a:lnTo>
                  <a:lnTo>
                    <a:pt x="116643" y="48966"/>
                  </a:lnTo>
                  <a:lnTo>
                    <a:pt x="117062" y="48401"/>
                  </a:lnTo>
                  <a:lnTo>
                    <a:pt x="117482" y="47836"/>
                  </a:lnTo>
                  <a:lnTo>
                    <a:pt x="117846" y="47214"/>
                  </a:lnTo>
                  <a:lnTo>
                    <a:pt x="118209" y="46564"/>
                  </a:lnTo>
                  <a:lnTo>
                    <a:pt x="118545" y="45943"/>
                  </a:lnTo>
                  <a:lnTo>
                    <a:pt x="118825" y="45264"/>
                  </a:lnTo>
                  <a:lnTo>
                    <a:pt x="119076" y="44586"/>
                  </a:lnTo>
                  <a:lnTo>
                    <a:pt x="119328" y="43880"/>
                  </a:lnTo>
                  <a:lnTo>
                    <a:pt x="119524" y="43202"/>
                  </a:lnTo>
                  <a:lnTo>
                    <a:pt x="119664" y="42467"/>
                  </a:lnTo>
                  <a:lnTo>
                    <a:pt x="119804" y="41761"/>
                  </a:lnTo>
                  <a:lnTo>
                    <a:pt x="119916" y="41026"/>
                  </a:lnTo>
                  <a:lnTo>
                    <a:pt x="119972" y="40235"/>
                  </a:lnTo>
                  <a:lnTo>
                    <a:pt x="120000" y="39500"/>
                  </a:lnTo>
                  <a:lnTo>
                    <a:pt x="119972" y="38737"/>
                  </a:lnTo>
                  <a:lnTo>
                    <a:pt x="119944" y="37975"/>
                  </a:lnTo>
                  <a:lnTo>
                    <a:pt x="119860" y="37212"/>
                  </a:lnTo>
                  <a:lnTo>
                    <a:pt x="119692" y="36421"/>
                  </a:lnTo>
                  <a:lnTo>
                    <a:pt x="119552" y="35658"/>
                  </a:lnTo>
                  <a:lnTo>
                    <a:pt x="119356" y="34923"/>
                  </a:lnTo>
                  <a:lnTo>
                    <a:pt x="119076" y="34188"/>
                  </a:lnTo>
                  <a:lnTo>
                    <a:pt x="118825" y="33482"/>
                  </a:lnTo>
                  <a:lnTo>
                    <a:pt x="118545" y="32776"/>
                  </a:lnTo>
                  <a:lnTo>
                    <a:pt x="118181" y="32097"/>
                  </a:lnTo>
                  <a:lnTo>
                    <a:pt x="117818" y="31448"/>
                  </a:lnTo>
                  <a:lnTo>
                    <a:pt x="117426" y="30826"/>
                  </a:lnTo>
                  <a:lnTo>
                    <a:pt x="116979" y="30204"/>
                  </a:lnTo>
                  <a:lnTo>
                    <a:pt x="116531" y="29611"/>
                  </a:lnTo>
                  <a:lnTo>
                    <a:pt x="116055" y="29046"/>
                  </a:lnTo>
                  <a:lnTo>
                    <a:pt x="115552" y="28509"/>
                  </a:lnTo>
                  <a:lnTo>
                    <a:pt x="115020" y="28000"/>
                  </a:lnTo>
                  <a:lnTo>
                    <a:pt x="114461" y="27520"/>
                  </a:lnTo>
                  <a:lnTo>
                    <a:pt x="113874" y="27040"/>
                  </a:lnTo>
                  <a:lnTo>
                    <a:pt x="113286" y="26644"/>
                  </a:lnTo>
                  <a:lnTo>
                    <a:pt x="112699" y="26220"/>
                  </a:lnTo>
                  <a:lnTo>
                    <a:pt x="112055" y="25825"/>
                  </a:lnTo>
                  <a:lnTo>
                    <a:pt x="111412" y="25514"/>
                  </a:lnTo>
                  <a:lnTo>
                    <a:pt x="110741" y="25175"/>
                  </a:lnTo>
                  <a:lnTo>
                    <a:pt x="110013" y="24921"/>
                  </a:lnTo>
                  <a:lnTo>
                    <a:pt x="109342" y="24695"/>
                  </a:lnTo>
                  <a:lnTo>
                    <a:pt x="108615" y="24440"/>
                  </a:lnTo>
                  <a:lnTo>
                    <a:pt x="107888" y="24271"/>
                  </a:lnTo>
                  <a:lnTo>
                    <a:pt x="107160" y="24158"/>
                  </a:lnTo>
                  <a:lnTo>
                    <a:pt x="106433" y="24045"/>
                  </a:lnTo>
                  <a:lnTo>
                    <a:pt x="105678" y="23988"/>
                  </a:lnTo>
                  <a:lnTo>
                    <a:pt x="104923" y="23960"/>
                  </a:lnTo>
                  <a:lnTo>
                    <a:pt x="104111" y="23960"/>
                  </a:lnTo>
                  <a:lnTo>
                    <a:pt x="103356" y="24016"/>
                  </a:lnTo>
                  <a:lnTo>
                    <a:pt x="102573" y="2410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Shape 5057"/>
            <p:cNvSpPr/>
            <p:nvPr/>
          </p:nvSpPr>
          <p:spPr>
            <a:xfrm>
              <a:off x="6893511" y="4087093"/>
              <a:ext cx="1783215" cy="179663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2454" y="49731"/>
                  </a:moveTo>
                  <a:lnTo>
                    <a:pt x="101777" y="49955"/>
                  </a:lnTo>
                  <a:lnTo>
                    <a:pt x="101156" y="50179"/>
                  </a:lnTo>
                  <a:lnTo>
                    <a:pt x="100535" y="50431"/>
                  </a:lnTo>
                  <a:lnTo>
                    <a:pt x="99943" y="50656"/>
                  </a:lnTo>
                  <a:lnTo>
                    <a:pt x="98843" y="51160"/>
                  </a:lnTo>
                  <a:lnTo>
                    <a:pt x="97856" y="51664"/>
                  </a:lnTo>
                  <a:lnTo>
                    <a:pt x="96897" y="52197"/>
                  </a:lnTo>
                  <a:lnTo>
                    <a:pt x="96050" y="52757"/>
                  </a:lnTo>
                  <a:lnTo>
                    <a:pt x="95232" y="53345"/>
                  </a:lnTo>
                  <a:lnTo>
                    <a:pt x="94471" y="53934"/>
                  </a:lnTo>
                  <a:lnTo>
                    <a:pt x="92947" y="55082"/>
                  </a:lnTo>
                  <a:lnTo>
                    <a:pt x="91480" y="56315"/>
                  </a:lnTo>
                  <a:lnTo>
                    <a:pt x="90691" y="56932"/>
                  </a:lnTo>
                  <a:lnTo>
                    <a:pt x="89901" y="57548"/>
                  </a:lnTo>
                  <a:lnTo>
                    <a:pt x="88998" y="58164"/>
                  </a:lnTo>
                  <a:lnTo>
                    <a:pt x="88067" y="58781"/>
                  </a:lnTo>
                  <a:lnTo>
                    <a:pt x="83385" y="25664"/>
                  </a:lnTo>
                  <a:lnTo>
                    <a:pt x="50296" y="30315"/>
                  </a:lnTo>
                  <a:lnTo>
                    <a:pt x="50578" y="29082"/>
                  </a:lnTo>
                  <a:lnTo>
                    <a:pt x="50916" y="27877"/>
                  </a:lnTo>
                  <a:lnTo>
                    <a:pt x="51283" y="26728"/>
                  </a:lnTo>
                  <a:lnTo>
                    <a:pt x="51678" y="25580"/>
                  </a:lnTo>
                  <a:lnTo>
                    <a:pt x="52496" y="23366"/>
                  </a:lnTo>
                  <a:lnTo>
                    <a:pt x="53286" y="21237"/>
                  </a:lnTo>
                  <a:lnTo>
                    <a:pt x="53653" y="20200"/>
                  </a:lnTo>
                  <a:lnTo>
                    <a:pt x="53963" y="19164"/>
                  </a:lnTo>
                  <a:lnTo>
                    <a:pt x="54273" y="18155"/>
                  </a:lnTo>
                  <a:lnTo>
                    <a:pt x="54471" y="17146"/>
                  </a:lnTo>
                  <a:lnTo>
                    <a:pt x="54555" y="16642"/>
                  </a:lnTo>
                  <a:lnTo>
                    <a:pt x="54640" y="16138"/>
                  </a:lnTo>
                  <a:lnTo>
                    <a:pt x="54696" y="15633"/>
                  </a:lnTo>
                  <a:lnTo>
                    <a:pt x="54724" y="15157"/>
                  </a:lnTo>
                  <a:lnTo>
                    <a:pt x="54724" y="14653"/>
                  </a:lnTo>
                  <a:lnTo>
                    <a:pt x="54724" y="14148"/>
                  </a:lnTo>
                  <a:lnTo>
                    <a:pt x="54696" y="13644"/>
                  </a:lnTo>
                  <a:lnTo>
                    <a:pt x="54640" y="13168"/>
                  </a:lnTo>
                  <a:lnTo>
                    <a:pt x="54583" y="12860"/>
                  </a:lnTo>
                  <a:lnTo>
                    <a:pt x="54527" y="12579"/>
                  </a:lnTo>
                  <a:lnTo>
                    <a:pt x="54386" y="11823"/>
                  </a:lnTo>
                  <a:lnTo>
                    <a:pt x="54217" y="11095"/>
                  </a:lnTo>
                  <a:lnTo>
                    <a:pt x="53963" y="10394"/>
                  </a:lnTo>
                  <a:lnTo>
                    <a:pt x="53709" y="9694"/>
                  </a:lnTo>
                  <a:lnTo>
                    <a:pt x="53427" y="9021"/>
                  </a:lnTo>
                  <a:lnTo>
                    <a:pt x="53117" y="8349"/>
                  </a:lnTo>
                  <a:lnTo>
                    <a:pt x="52750" y="7704"/>
                  </a:lnTo>
                  <a:lnTo>
                    <a:pt x="52383" y="7088"/>
                  </a:lnTo>
                  <a:lnTo>
                    <a:pt x="51960" y="6472"/>
                  </a:lnTo>
                  <a:lnTo>
                    <a:pt x="51537" y="5883"/>
                  </a:lnTo>
                  <a:lnTo>
                    <a:pt x="51086" y="5323"/>
                  </a:lnTo>
                  <a:lnTo>
                    <a:pt x="50606" y="4791"/>
                  </a:lnTo>
                  <a:lnTo>
                    <a:pt x="50070" y="4314"/>
                  </a:lnTo>
                  <a:lnTo>
                    <a:pt x="49534" y="3810"/>
                  </a:lnTo>
                  <a:lnTo>
                    <a:pt x="48998" y="3334"/>
                  </a:lnTo>
                  <a:lnTo>
                    <a:pt x="48434" y="2913"/>
                  </a:lnTo>
                  <a:lnTo>
                    <a:pt x="47842" y="2521"/>
                  </a:lnTo>
                  <a:lnTo>
                    <a:pt x="47221" y="2129"/>
                  </a:lnTo>
                  <a:lnTo>
                    <a:pt x="46600" y="1793"/>
                  </a:lnTo>
                  <a:lnTo>
                    <a:pt x="45952" y="1456"/>
                  </a:lnTo>
                  <a:lnTo>
                    <a:pt x="45275" y="1176"/>
                  </a:lnTo>
                  <a:lnTo>
                    <a:pt x="44598" y="924"/>
                  </a:lnTo>
                  <a:lnTo>
                    <a:pt x="43921" y="672"/>
                  </a:lnTo>
                  <a:lnTo>
                    <a:pt x="43215" y="476"/>
                  </a:lnTo>
                  <a:lnTo>
                    <a:pt x="42482" y="308"/>
                  </a:lnTo>
                  <a:lnTo>
                    <a:pt x="41777" y="196"/>
                  </a:lnTo>
                  <a:lnTo>
                    <a:pt x="41043" y="84"/>
                  </a:lnTo>
                  <a:lnTo>
                    <a:pt x="40253" y="28"/>
                  </a:lnTo>
                  <a:lnTo>
                    <a:pt x="39520" y="0"/>
                  </a:lnTo>
                  <a:lnTo>
                    <a:pt x="38758" y="0"/>
                  </a:lnTo>
                  <a:lnTo>
                    <a:pt x="37997" y="56"/>
                  </a:lnTo>
                  <a:lnTo>
                    <a:pt x="37235" y="168"/>
                  </a:lnTo>
                  <a:lnTo>
                    <a:pt x="36445" y="280"/>
                  </a:lnTo>
                  <a:lnTo>
                    <a:pt x="35655" y="448"/>
                  </a:lnTo>
                  <a:lnTo>
                    <a:pt x="34922" y="644"/>
                  </a:lnTo>
                  <a:lnTo>
                    <a:pt x="34188" y="896"/>
                  </a:lnTo>
                  <a:lnTo>
                    <a:pt x="33483" y="1176"/>
                  </a:lnTo>
                  <a:lnTo>
                    <a:pt x="32778" y="1456"/>
                  </a:lnTo>
                  <a:lnTo>
                    <a:pt x="32101" y="1821"/>
                  </a:lnTo>
                  <a:lnTo>
                    <a:pt x="31452" y="2157"/>
                  </a:lnTo>
                  <a:lnTo>
                    <a:pt x="30832" y="2577"/>
                  </a:lnTo>
                  <a:lnTo>
                    <a:pt x="30211" y="2997"/>
                  </a:lnTo>
                  <a:lnTo>
                    <a:pt x="29619" y="3446"/>
                  </a:lnTo>
                  <a:lnTo>
                    <a:pt x="29055" y="3922"/>
                  </a:lnTo>
                  <a:lnTo>
                    <a:pt x="28547" y="4454"/>
                  </a:lnTo>
                  <a:lnTo>
                    <a:pt x="28011" y="4987"/>
                  </a:lnTo>
                  <a:lnTo>
                    <a:pt x="27531" y="5519"/>
                  </a:lnTo>
                  <a:lnTo>
                    <a:pt x="27052" y="6079"/>
                  </a:lnTo>
                  <a:lnTo>
                    <a:pt x="26657" y="6696"/>
                  </a:lnTo>
                  <a:lnTo>
                    <a:pt x="26234" y="7312"/>
                  </a:lnTo>
                  <a:lnTo>
                    <a:pt x="25839" y="7929"/>
                  </a:lnTo>
                  <a:lnTo>
                    <a:pt x="25528" y="8601"/>
                  </a:lnTo>
                  <a:lnTo>
                    <a:pt x="25190" y="9273"/>
                  </a:lnTo>
                  <a:lnTo>
                    <a:pt x="24936" y="9946"/>
                  </a:lnTo>
                  <a:lnTo>
                    <a:pt x="24710" y="10646"/>
                  </a:lnTo>
                  <a:lnTo>
                    <a:pt x="24485" y="11375"/>
                  </a:lnTo>
                  <a:lnTo>
                    <a:pt x="24315" y="12075"/>
                  </a:lnTo>
                  <a:lnTo>
                    <a:pt x="24174" y="12832"/>
                  </a:lnTo>
                  <a:lnTo>
                    <a:pt x="24062" y="13560"/>
                  </a:lnTo>
                  <a:lnTo>
                    <a:pt x="24005" y="14317"/>
                  </a:lnTo>
                  <a:lnTo>
                    <a:pt x="23977" y="15101"/>
                  </a:lnTo>
                  <a:lnTo>
                    <a:pt x="24005" y="15858"/>
                  </a:lnTo>
                  <a:lnTo>
                    <a:pt x="24033" y="16642"/>
                  </a:lnTo>
                  <a:lnTo>
                    <a:pt x="24118" y="17427"/>
                  </a:lnTo>
                  <a:lnTo>
                    <a:pt x="24344" y="18127"/>
                  </a:lnTo>
                  <a:lnTo>
                    <a:pt x="24626" y="18799"/>
                  </a:lnTo>
                  <a:lnTo>
                    <a:pt x="24851" y="19444"/>
                  </a:lnTo>
                  <a:lnTo>
                    <a:pt x="25105" y="20032"/>
                  </a:lnTo>
                  <a:lnTo>
                    <a:pt x="25387" y="20621"/>
                  </a:lnTo>
                  <a:lnTo>
                    <a:pt x="25641" y="21153"/>
                  </a:lnTo>
                  <a:lnTo>
                    <a:pt x="25952" y="21685"/>
                  </a:lnTo>
                  <a:lnTo>
                    <a:pt x="26205" y="22218"/>
                  </a:lnTo>
                  <a:lnTo>
                    <a:pt x="26798" y="23170"/>
                  </a:lnTo>
                  <a:lnTo>
                    <a:pt x="27390" y="24067"/>
                  </a:lnTo>
                  <a:lnTo>
                    <a:pt x="28011" y="24907"/>
                  </a:lnTo>
                  <a:lnTo>
                    <a:pt x="28631" y="25692"/>
                  </a:lnTo>
                  <a:lnTo>
                    <a:pt x="29929" y="27233"/>
                  </a:lnTo>
                  <a:lnTo>
                    <a:pt x="31227" y="28858"/>
                  </a:lnTo>
                  <a:lnTo>
                    <a:pt x="31875" y="29698"/>
                  </a:lnTo>
                  <a:lnTo>
                    <a:pt x="32524" y="30567"/>
                  </a:lnTo>
                  <a:lnTo>
                    <a:pt x="33173" y="31575"/>
                  </a:lnTo>
                  <a:lnTo>
                    <a:pt x="33822" y="32612"/>
                  </a:lnTo>
                  <a:lnTo>
                    <a:pt x="0" y="37347"/>
                  </a:lnTo>
                  <a:lnTo>
                    <a:pt x="4739" y="70576"/>
                  </a:lnTo>
                  <a:lnTo>
                    <a:pt x="5726" y="69960"/>
                  </a:lnTo>
                  <a:lnTo>
                    <a:pt x="6600" y="69315"/>
                  </a:lnTo>
                  <a:lnTo>
                    <a:pt x="7475" y="68727"/>
                  </a:lnTo>
                  <a:lnTo>
                    <a:pt x="8265" y="68083"/>
                  </a:lnTo>
                  <a:lnTo>
                    <a:pt x="9788" y="66850"/>
                  </a:lnTo>
                  <a:lnTo>
                    <a:pt x="11283" y="65645"/>
                  </a:lnTo>
                  <a:lnTo>
                    <a:pt x="12101" y="65029"/>
                  </a:lnTo>
                  <a:lnTo>
                    <a:pt x="12919" y="64440"/>
                  </a:lnTo>
                  <a:lnTo>
                    <a:pt x="13794" y="63880"/>
                  </a:lnTo>
                  <a:lnTo>
                    <a:pt x="14753" y="63348"/>
                  </a:lnTo>
                  <a:lnTo>
                    <a:pt x="15740" y="62815"/>
                  </a:lnTo>
                  <a:lnTo>
                    <a:pt x="16868" y="62311"/>
                  </a:lnTo>
                  <a:lnTo>
                    <a:pt x="17461" y="62059"/>
                  </a:lnTo>
                  <a:lnTo>
                    <a:pt x="18081" y="61807"/>
                  </a:lnTo>
                  <a:lnTo>
                    <a:pt x="18730" y="61583"/>
                  </a:lnTo>
                  <a:lnTo>
                    <a:pt x="19407" y="61358"/>
                  </a:lnTo>
                  <a:lnTo>
                    <a:pt x="20197" y="61274"/>
                  </a:lnTo>
                  <a:lnTo>
                    <a:pt x="20987" y="61190"/>
                  </a:lnTo>
                  <a:lnTo>
                    <a:pt x="21748" y="61190"/>
                  </a:lnTo>
                  <a:lnTo>
                    <a:pt x="22510" y="61246"/>
                  </a:lnTo>
                  <a:lnTo>
                    <a:pt x="23300" y="61302"/>
                  </a:lnTo>
                  <a:lnTo>
                    <a:pt x="24062" y="61414"/>
                  </a:lnTo>
                  <a:lnTo>
                    <a:pt x="24795" y="61526"/>
                  </a:lnTo>
                  <a:lnTo>
                    <a:pt x="25528" y="61695"/>
                  </a:lnTo>
                  <a:lnTo>
                    <a:pt x="26234" y="61947"/>
                  </a:lnTo>
                  <a:lnTo>
                    <a:pt x="26939" y="62171"/>
                  </a:lnTo>
                  <a:lnTo>
                    <a:pt x="27616" y="62423"/>
                  </a:lnTo>
                  <a:lnTo>
                    <a:pt x="28293" y="62759"/>
                  </a:lnTo>
                  <a:lnTo>
                    <a:pt x="28970" y="63067"/>
                  </a:lnTo>
                  <a:lnTo>
                    <a:pt x="29590" y="63460"/>
                  </a:lnTo>
                  <a:lnTo>
                    <a:pt x="30239" y="63824"/>
                  </a:lnTo>
                  <a:lnTo>
                    <a:pt x="30832" y="64272"/>
                  </a:lnTo>
                  <a:lnTo>
                    <a:pt x="31424" y="64749"/>
                  </a:lnTo>
                  <a:lnTo>
                    <a:pt x="31988" y="65197"/>
                  </a:lnTo>
                  <a:lnTo>
                    <a:pt x="32524" y="65701"/>
                  </a:lnTo>
                  <a:lnTo>
                    <a:pt x="33004" y="66261"/>
                  </a:lnTo>
                  <a:lnTo>
                    <a:pt x="33483" y="66822"/>
                  </a:lnTo>
                  <a:lnTo>
                    <a:pt x="33963" y="67410"/>
                  </a:lnTo>
                  <a:lnTo>
                    <a:pt x="34386" y="67971"/>
                  </a:lnTo>
                  <a:lnTo>
                    <a:pt x="34781" y="68615"/>
                  </a:lnTo>
                  <a:lnTo>
                    <a:pt x="35176" y="69259"/>
                  </a:lnTo>
                  <a:lnTo>
                    <a:pt x="35486" y="69932"/>
                  </a:lnTo>
                  <a:lnTo>
                    <a:pt x="35825" y="70632"/>
                  </a:lnTo>
                  <a:lnTo>
                    <a:pt x="36078" y="71333"/>
                  </a:lnTo>
                  <a:lnTo>
                    <a:pt x="36304" y="72061"/>
                  </a:lnTo>
                  <a:lnTo>
                    <a:pt x="36530" y="72818"/>
                  </a:lnTo>
                  <a:lnTo>
                    <a:pt x="36699" y="73574"/>
                  </a:lnTo>
                  <a:lnTo>
                    <a:pt x="36812" y="74359"/>
                  </a:lnTo>
                  <a:lnTo>
                    <a:pt x="36897" y="75115"/>
                  </a:lnTo>
                  <a:lnTo>
                    <a:pt x="36953" y="75872"/>
                  </a:lnTo>
                  <a:lnTo>
                    <a:pt x="36953" y="76628"/>
                  </a:lnTo>
                  <a:lnTo>
                    <a:pt x="36953" y="77356"/>
                  </a:lnTo>
                  <a:lnTo>
                    <a:pt x="36897" y="78085"/>
                  </a:lnTo>
                  <a:lnTo>
                    <a:pt x="36784" y="78813"/>
                  </a:lnTo>
                  <a:lnTo>
                    <a:pt x="36671" y="79570"/>
                  </a:lnTo>
                  <a:lnTo>
                    <a:pt x="36502" y="80270"/>
                  </a:lnTo>
                  <a:lnTo>
                    <a:pt x="36276" y="80971"/>
                  </a:lnTo>
                  <a:lnTo>
                    <a:pt x="36078" y="81671"/>
                  </a:lnTo>
                  <a:lnTo>
                    <a:pt x="35825" y="82344"/>
                  </a:lnTo>
                  <a:lnTo>
                    <a:pt x="35514" y="82988"/>
                  </a:lnTo>
                  <a:lnTo>
                    <a:pt x="35204" y="83604"/>
                  </a:lnTo>
                  <a:lnTo>
                    <a:pt x="34837" y="84249"/>
                  </a:lnTo>
                  <a:lnTo>
                    <a:pt x="34471" y="84865"/>
                  </a:lnTo>
                  <a:lnTo>
                    <a:pt x="34047" y="85454"/>
                  </a:lnTo>
                  <a:lnTo>
                    <a:pt x="33596" y="86014"/>
                  </a:lnTo>
                  <a:lnTo>
                    <a:pt x="33145" y="86574"/>
                  </a:lnTo>
                  <a:lnTo>
                    <a:pt x="32665" y="87107"/>
                  </a:lnTo>
                  <a:lnTo>
                    <a:pt x="32129" y="87583"/>
                  </a:lnTo>
                  <a:lnTo>
                    <a:pt x="31593" y="88087"/>
                  </a:lnTo>
                  <a:lnTo>
                    <a:pt x="31029" y="88536"/>
                  </a:lnTo>
                  <a:lnTo>
                    <a:pt x="30437" y="88956"/>
                  </a:lnTo>
                  <a:lnTo>
                    <a:pt x="29844" y="89376"/>
                  </a:lnTo>
                  <a:lnTo>
                    <a:pt x="29224" y="89768"/>
                  </a:lnTo>
                  <a:lnTo>
                    <a:pt x="28575" y="90105"/>
                  </a:lnTo>
                  <a:lnTo>
                    <a:pt x="27898" y="90441"/>
                  </a:lnTo>
                  <a:lnTo>
                    <a:pt x="27221" y="90693"/>
                  </a:lnTo>
                  <a:lnTo>
                    <a:pt x="26488" y="90945"/>
                  </a:lnTo>
                  <a:lnTo>
                    <a:pt x="25782" y="91197"/>
                  </a:lnTo>
                  <a:lnTo>
                    <a:pt x="25049" y="91365"/>
                  </a:lnTo>
                  <a:lnTo>
                    <a:pt x="24287" y="91505"/>
                  </a:lnTo>
                  <a:lnTo>
                    <a:pt x="24033" y="91561"/>
                  </a:lnTo>
                  <a:lnTo>
                    <a:pt x="23695" y="91618"/>
                  </a:lnTo>
                  <a:lnTo>
                    <a:pt x="23215" y="91674"/>
                  </a:lnTo>
                  <a:lnTo>
                    <a:pt x="22764" y="91702"/>
                  </a:lnTo>
                  <a:lnTo>
                    <a:pt x="22256" y="91702"/>
                  </a:lnTo>
                  <a:lnTo>
                    <a:pt x="21777" y="91702"/>
                  </a:lnTo>
                  <a:lnTo>
                    <a:pt x="21297" y="91674"/>
                  </a:lnTo>
                  <a:lnTo>
                    <a:pt x="20818" y="91618"/>
                  </a:lnTo>
                  <a:lnTo>
                    <a:pt x="20338" y="91561"/>
                  </a:lnTo>
                  <a:lnTo>
                    <a:pt x="19830" y="91477"/>
                  </a:lnTo>
                  <a:lnTo>
                    <a:pt x="18871" y="91281"/>
                  </a:lnTo>
                  <a:lnTo>
                    <a:pt x="17856" y="91001"/>
                  </a:lnTo>
                  <a:lnTo>
                    <a:pt x="16897" y="90721"/>
                  </a:lnTo>
                  <a:lnTo>
                    <a:pt x="15881" y="90357"/>
                  </a:lnTo>
                  <a:lnTo>
                    <a:pt x="13822" y="89628"/>
                  </a:lnTo>
                  <a:lnTo>
                    <a:pt x="11678" y="88844"/>
                  </a:lnTo>
                  <a:lnTo>
                    <a:pt x="10578" y="88480"/>
                  </a:lnTo>
                  <a:lnTo>
                    <a:pt x="9478" y="88087"/>
                  </a:lnTo>
                  <a:lnTo>
                    <a:pt x="8321" y="87779"/>
                  </a:lnTo>
                  <a:lnTo>
                    <a:pt x="7136" y="87443"/>
                  </a:lnTo>
                  <a:lnTo>
                    <a:pt x="11763" y="119999"/>
                  </a:lnTo>
                  <a:lnTo>
                    <a:pt x="95148" y="108344"/>
                  </a:lnTo>
                  <a:lnTo>
                    <a:pt x="90521" y="75900"/>
                  </a:lnTo>
                  <a:lnTo>
                    <a:pt x="91650" y="76236"/>
                  </a:lnTo>
                  <a:lnTo>
                    <a:pt x="92778" y="76572"/>
                  </a:lnTo>
                  <a:lnTo>
                    <a:pt x="93878" y="76936"/>
                  </a:lnTo>
                  <a:lnTo>
                    <a:pt x="94950" y="77300"/>
                  </a:lnTo>
                  <a:lnTo>
                    <a:pt x="97066" y="78057"/>
                  </a:lnTo>
                  <a:lnTo>
                    <a:pt x="99069" y="78785"/>
                  </a:lnTo>
                  <a:lnTo>
                    <a:pt x="100028" y="79122"/>
                  </a:lnTo>
                  <a:lnTo>
                    <a:pt x="101043" y="79402"/>
                  </a:lnTo>
                  <a:lnTo>
                    <a:pt x="101974" y="79682"/>
                  </a:lnTo>
                  <a:lnTo>
                    <a:pt x="102961" y="79878"/>
                  </a:lnTo>
                  <a:lnTo>
                    <a:pt x="103413" y="79934"/>
                  </a:lnTo>
                  <a:lnTo>
                    <a:pt x="103892" y="79990"/>
                  </a:lnTo>
                  <a:lnTo>
                    <a:pt x="104400" y="80046"/>
                  </a:lnTo>
                  <a:lnTo>
                    <a:pt x="104851" y="80074"/>
                  </a:lnTo>
                  <a:lnTo>
                    <a:pt x="105331" y="80074"/>
                  </a:lnTo>
                  <a:lnTo>
                    <a:pt x="105811" y="80074"/>
                  </a:lnTo>
                  <a:lnTo>
                    <a:pt x="106290" y="80046"/>
                  </a:lnTo>
                  <a:lnTo>
                    <a:pt x="106741" y="79990"/>
                  </a:lnTo>
                  <a:lnTo>
                    <a:pt x="107052" y="79934"/>
                  </a:lnTo>
                  <a:lnTo>
                    <a:pt x="107334" y="79906"/>
                  </a:lnTo>
                  <a:lnTo>
                    <a:pt x="108067" y="79738"/>
                  </a:lnTo>
                  <a:lnTo>
                    <a:pt x="108801" y="79570"/>
                  </a:lnTo>
                  <a:lnTo>
                    <a:pt x="109562" y="79318"/>
                  </a:lnTo>
                  <a:lnTo>
                    <a:pt x="110267" y="79094"/>
                  </a:lnTo>
                  <a:lnTo>
                    <a:pt x="110944" y="78785"/>
                  </a:lnTo>
                  <a:lnTo>
                    <a:pt x="111622" y="78477"/>
                  </a:lnTo>
                  <a:lnTo>
                    <a:pt x="112270" y="78113"/>
                  </a:lnTo>
                  <a:lnTo>
                    <a:pt x="112891" y="77749"/>
                  </a:lnTo>
                  <a:lnTo>
                    <a:pt x="113483" y="77328"/>
                  </a:lnTo>
                  <a:lnTo>
                    <a:pt x="114047" y="76936"/>
                  </a:lnTo>
                  <a:lnTo>
                    <a:pt x="114612" y="76460"/>
                  </a:lnTo>
                  <a:lnTo>
                    <a:pt x="115176" y="75956"/>
                  </a:lnTo>
                  <a:lnTo>
                    <a:pt x="115684" y="75451"/>
                  </a:lnTo>
                  <a:lnTo>
                    <a:pt x="116191" y="74947"/>
                  </a:lnTo>
                  <a:lnTo>
                    <a:pt x="116614" y="74387"/>
                  </a:lnTo>
                  <a:lnTo>
                    <a:pt x="117066" y="73826"/>
                  </a:lnTo>
                  <a:lnTo>
                    <a:pt x="117489" y="73238"/>
                  </a:lnTo>
                  <a:lnTo>
                    <a:pt x="117856" y="72621"/>
                  </a:lnTo>
                  <a:lnTo>
                    <a:pt x="118222" y="71977"/>
                  </a:lnTo>
                  <a:lnTo>
                    <a:pt x="118533" y="71333"/>
                  </a:lnTo>
                  <a:lnTo>
                    <a:pt x="118843" y="70688"/>
                  </a:lnTo>
                  <a:lnTo>
                    <a:pt x="119097" y="70016"/>
                  </a:lnTo>
                  <a:lnTo>
                    <a:pt x="119322" y="69315"/>
                  </a:lnTo>
                  <a:lnTo>
                    <a:pt x="119548" y="68643"/>
                  </a:lnTo>
                  <a:lnTo>
                    <a:pt x="119689" y="67915"/>
                  </a:lnTo>
                  <a:lnTo>
                    <a:pt x="119830" y="67214"/>
                  </a:lnTo>
                  <a:lnTo>
                    <a:pt x="119915" y="66486"/>
                  </a:lnTo>
                  <a:lnTo>
                    <a:pt x="119971" y="65729"/>
                  </a:lnTo>
                  <a:lnTo>
                    <a:pt x="120000" y="65001"/>
                  </a:lnTo>
                  <a:lnTo>
                    <a:pt x="120000" y="64244"/>
                  </a:lnTo>
                  <a:lnTo>
                    <a:pt x="119943" y="63488"/>
                  </a:lnTo>
                  <a:lnTo>
                    <a:pt x="119858" y="62731"/>
                  </a:lnTo>
                  <a:lnTo>
                    <a:pt x="119717" y="61947"/>
                  </a:lnTo>
                  <a:lnTo>
                    <a:pt x="119576" y="61162"/>
                  </a:lnTo>
                  <a:lnTo>
                    <a:pt x="119351" y="60434"/>
                  </a:lnTo>
                  <a:lnTo>
                    <a:pt x="119125" y="59705"/>
                  </a:lnTo>
                  <a:lnTo>
                    <a:pt x="118843" y="59005"/>
                  </a:lnTo>
                  <a:lnTo>
                    <a:pt x="118533" y="58304"/>
                  </a:lnTo>
                  <a:lnTo>
                    <a:pt x="118194" y="57632"/>
                  </a:lnTo>
                  <a:lnTo>
                    <a:pt x="117827" y="56988"/>
                  </a:lnTo>
                  <a:lnTo>
                    <a:pt x="117433" y="56371"/>
                  </a:lnTo>
                  <a:lnTo>
                    <a:pt x="117009" y="55755"/>
                  </a:lnTo>
                  <a:lnTo>
                    <a:pt x="116530" y="55194"/>
                  </a:lnTo>
                  <a:lnTo>
                    <a:pt x="116050" y="54634"/>
                  </a:lnTo>
                  <a:lnTo>
                    <a:pt x="115543" y="54102"/>
                  </a:lnTo>
                  <a:lnTo>
                    <a:pt x="115007" y="53569"/>
                  </a:lnTo>
                  <a:lnTo>
                    <a:pt x="114442" y="53121"/>
                  </a:lnTo>
                  <a:lnTo>
                    <a:pt x="113878" y="52645"/>
                  </a:lnTo>
                  <a:lnTo>
                    <a:pt x="113258" y="52225"/>
                  </a:lnTo>
                  <a:lnTo>
                    <a:pt x="112637" y="51832"/>
                  </a:lnTo>
                  <a:lnTo>
                    <a:pt x="111988" y="51440"/>
                  </a:lnTo>
                  <a:lnTo>
                    <a:pt x="111339" y="51132"/>
                  </a:lnTo>
                  <a:lnTo>
                    <a:pt x="110662" y="50796"/>
                  </a:lnTo>
                  <a:lnTo>
                    <a:pt x="109985" y="50544"/>
                  </a:lnTo>
                  <a:lnTo>
                    <a:pt x="109280" y="50291"/>
                  </a:lnTo>
                  <a:lnTo>
                    <a:pt x="108547" y="50067"/>
                  </a:lnTo>
                  <a:lnTo>
                    <a:pt x="107813" y="49927"/>
                  </a:lnTo>
                  <a:lnTo>
                    <a:pt x="107080" y="49787"/>
                  </a:lnTo>
                  <a:lnTo>
                    <a:pt x="106346" y="49647"/>
                  </a:lnTo>
                  <a:lnTo>
                    <a:pt x="105585" y="49591"/>
                  </a:lnTo>
                  <a:lnTo>
                    <a:pt x="104795" y="49563"/>
                  </a:lnTo>
                  <a:lnTo>
                    <a:pt x="104005" y="49563"/>
                  </a:lnTo>
                  <a:lnTo>
                    <a:pt x="103244" y="49619"/>
                  </a:lnTo>
                  <a:lnTo>
                    <a:pt x="102454" y="4973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Shape 5058"/>
            <p:cNvSpPr/>
            <p:nvPr/>
          </p:nvSpPr>
          <p:spPr>
            <a:xfrm>
              <a:off x="7662667" y="1178494"/>
              <a:ext cx="1625527" cy="103168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3557" y="39918"/>
                  </a:moveTo>
                  <a:lnTo>
                    <a:pt x="94537" y="6823"/>
                  </a:lnTo>
                  <a:lnTo>
                    <a:pt x="94414" y="6482"/>
                  </a:lnTo>
                  <a:lnTo>
                    <a:pt x="93980" y="5556"/>
                  </a:lnTo>
                  <a:lnTo>
                    <a:pt x="93639" y="4971"/>
                  </a:lnTo>
                  <a:lnTo>
                    <a:pt x="93205" y="4240"/>
                  </a:lnTo>
                  <a:lnTo>
                    <a:pt x="92958" y="3899"/>
                  </a:lnTo>
                  <a:lnTo>
                    <a:pt x="92679" y="3558"/>
                  </a:lnTo>
                  <a:lnTo>
                    <a:pt x="92338" y="3168"/>
                  </a:lnTo>
                  <a:lnTo>
                    <a:pt x="91997" y="2826"/>
                  </a:lnTo>
                  <a:lnTo>
                    <a:pt x="91595" y="2485"/>
                  </a:lnTo>
                  <a:lnTo>
                    <a:pt x="91223" y="2144"/>
                  </a:lnTo>
                  <a:lnTo>
                    <a:pt x="90758" y="1803"/>
                  </a:lnTo>
                  <a:lnTo>
                    <a:pt x="90263" y="1510"/>
                  </a:lnTo>
                  <a:lnTo>
                    <a:pt x="89767" y="1218"/>
                  </a:lnTo>
                  <a:lnTo>
                    <a:pt x="89210" y="926"/>
                  </a:lnTo>
                  <a:lnTo>
                    <a:pt x="88621" y="682"/>
                  </a:lnTo>
                  <a:lnTo>
                    <a:pt x="88002" y="487"/>
                  </a:lnTo>
                  <a:lnTo>
                    <a:pt x="87320" y="292"/>
                  </a:lnTo>
                  <a:lnTo>
                    <a:pt x="86608" y="194"/>
                  </a:lnTo>
                  <a:lnTo>
                    <a:pt x="85864" y="48"/>
                  </a:lnTo>
                  <a:lnTo>
                    <a:pt x="85090" y="0"/>
                  </a:lnTo>
                  <a:lnTo>
                    <a:pt x="84254" y="0"/>
                  </a:lnTo>
                  <a:lnTo>
                    <a:pt x="83355" y="48"/>
                  </a:lnTo>
                  <a:lnTo>
                    <a:pt x="82426" y="146"/>
                  </a:lnTo>
                  <a:lnTo>
                    <a:pt x="81466" y="243"/>
                  </a:lnTo>
                  <a:lnTo>
                    <a:pt x="79762" y="536"/>
                  </a:lnTo>
                  <a:lnTo>
                    <a:pt x="77687" y="828"/>
                  </a:lnTo>
                  <a:lnTo>
                    <a:pt x="75240" y="1169"/>
                  </a:lnTo>
                  <a:lnTo>
                    <a:pt x="72607" y="1510"/>
                  </a:lnTo>
                  <a:lnTo>
                    <a:pt x="69664" y="1900"/>
                  </a:lnTo>
                  <a:lnTo>
                    <a:pt x="66566" y="2290"/>
                  </a:lnTo>
                  <a:lnTo>
                    <a:pt x="63314" y="2680"/>
                  </a:lnTo>
                  <a:lnTo>
                    <a:pt x="59969" y="3119"/>
                  </a:lnTo>
                  <a:lnTo>
                    <a:pt x="56623" y="3558"/>
                  </a:lnTo>
                  <a:lnTo>
                    <a:pt x="53247" y="3996"/>
                  </a:lnTo>
                  <a:lnTo>
                    <a:pt x="49901" y="4435"/>
                  </a:lnTo>
                  <a:lnTo>
                    <a:pt x="46680" y="4971"/>
                  </a:lnTo>
                  <a:lnTo>
                    <a:pt x="43613" y="5410"/>
                  </a:lnTo>
                  <a:lnTo>
                    <a:pt x="40702" y="5946"/>
                  </a:lnTo>
                  <a:lnTo>
                    <a:pt x="38038" y="6433"/>
                  </a:lnTo>
                  <a:lnTo>
                    <a:pt x="35653" y="6921"/>
                  </a:lnTo>
                  <a:lnTo>
                    <a:pt x="33701" y="7359"/>
                  </a:lnTo>
                  <a:lnTo>
                    <a:pt x="32090" y="7798"/>
                  </a:lnTo>
                  <a:lnTo>
                    <a:pt x="31409" y="8042"/>
                  </a:lnTo>
                  <a:lnTo>
                    <a:pt x="30758" y="8432"/>
                  </a:lnTo>
                  <a:lnTo>
                    <a:pt x="30418" y="8627"/>
                  </a:lnTo>
                  <a:lnTo>
                    <a:pt x="30139" y="8870"/>
                  </a:lnTo>
                  <a:lnTo>
                    <a:pt x="29829" y="9114"/>
                  </a:lnTo>
                  <a:lnTo>
                    <a:pt x="29519" y="9455"/>
                  </a:lnTo>
                  <a:lnTo>
                    <a:pt x="29241" y="9796"/>
                  </a:lnTo>
                  <a:lnTo>
                    <a:pt x="28900" y="10138"/>
                  </a:lnTo>
                  <a:lnTo>
                    <a:pt x="28621" y="10625"/>
                  </a:lnTo>
                  <a:lnTo>
                    <a:pt x="28311" y="11064"/>
                  </a:lnTo>
                  <a:lnTo>
                    <a:pt x="27661" y="12185"/>
                  </a:lnTo>
                  <a:lnTo>
                    <a:pt x="26979" y="13549"/>
                  </a:lnTo>
                  <a:lnTo>
                    <a:pt x="26236" y="15158"/>
                  </a:lnTo>
                  <a:lnTo>
                    <a:pt x="25400" y="17059"/>
                  </a:lnTo>
                  <a:lnTo>
                    <a:pt x="24439" y="19301"/>
                  </a:lnTo>
                  <a:lnTo>
                    <a:pt x="23417" y="21835"/>
                  </a:lnTo>
                  <a:lnTo>
                    <a:pt x="21961" y="25588"/>
                  </a:lnTo>
                  <a:lnTo>
                    <a:pt x="20289" y="29975"/>
                  </a:lnTo>
                  <a:lnTo>
                    <a:pt x="18523" y="34849"/>
                  </a:lnTo>
                  <a:lnTo>
                    <a:pt x="16633" y="40113"/>
                  </a:lnTo>
                  <a:lnTo>
                    <a:pt x="14744" y="45572"/>
                  </a:lnTo>
                  <a:lnTo>
                    <a:pt x="12792" y="51177"/>
                  </a:lnTo>
                  <a:lnTo>
                    <a:pt x="10841" y="56783"/>
                  </a:lnTo>
                  <a:lnTo>
                    <a:pt x="8951" y="62290"/>
                  </a:lnTo>
                  <a:lnTo>
                    <a:pt x="7155" y="67652"/>
                  </a:lnTo>
                  <a:lnTo>
                    <a:pt x="5482" y="72623"/>
                  </a:lnTo>
                  <a:lnTo>
                    <a:pt x="3964" y="77156"/>
                  </a:lnTo>
                  <a:lnTo>
                    <a:pt x="2632" y="81104"/>
                  </a:lnTo>
                  <a:lnTo>
                    <a:pt x="1548" y="84370"/>
                  </a:lnTo>
                  <a:lnTo>
                    <a:pt x="712" y="86856"/>
                  </a:lnTo>
                  <a:lnTo>
                    <a:pt x="185" y="88513"/>
                  </a:lnTo>
                  <a:lnTo>
                    <a:pt x="0" y="89000"/>
                  </a:lnTo>
                  <a:lnTo>
                    <a:pt x="154" y="89147"/>
                  </a:lnTo>
                  <a:lnTo>
                    <a:pt x="526" y="89488"/>
                  </a:lnTo>
                  <a:lnTo>
                    <a:pt x="1177" y="89975"/>
                  </a:lnTo>
                  <a:lnTo>
                    <a:pt x="2013" y="90511"/>
                  </a:lnTo>
                  <a:lnTo>
                    <a:pt x="2540" y="90852"/>
                  </a:lnTo>
                  <a:lnTo>
                    <a:pt x="3066" y="91145"/>
                  </a:lnTo>
                  <a:lnTo>
                    <a:pt x="3655" y="91389"/>
                  </a:lnTo>
                  <a:lnTo>
                    <a:pt x="4274" y="91632"/>
                  </a:lnTo>
                  <a:lnTo>
                    <a:pt x="4956" y="91876"/>
                  </a:lnTo>
                  <a:lnTo>
                    <a:pt x="5668" y="92071"/>
                  </a:lnTo>
                  <a:lnTo>
                    <a:pt x="6411" y="92217"/>
                  </a:lnTo>
                  <a:lnTo>
                    <a:pt x="7186" y="92315"/>
                  </a:lnTo>
                  <a:lnTo>
                    <a:pt x="7991" y="92363"/>
                  </a:lnTo>
                  <a:lnTo>
                    <a:pt x="8859" y="92315"/>
                  </a:lnTo>
                  <a:lnTo>
                    <a:pt x="9695" y="92217"/>
                  </a:lnTo>
                  <a:lnTo>
                    <a:pt x="10562" y="92022"/>
                  </a:lnTo>
                  <a:lnTo>
                    <a:pt x="11461" y="91681"/>
                  </a:lnTo>
                  <a:lnTo>
                    <a:pt x="12390" y="91291"/>
                  </a:lnTo>
                  <a:lnTo>
                    <a:pt x="13319" y="90852"/>
                  </a:lnTo>
                  <a:lnTo>
                    <a:pt x="14248" y="90170"/>
                  </a:lnTo>
                  <a:lnTo>
                    <a:pt x="15209" y="89439"/>
                  </a:lnTo>
                  <a:lnTo>
                    <a:pt x="16169" y="88562"/>
                  </a:lnTo>
                  <a:lnTo>
                    <a:pt x="17129" y="87538"/>
                  </a:lnTo>
                  <a:lnTo>
                    <a:pt x="18058" y="86368"/>
                  </a:lnTo>
                  <a:lnTo>
                    <a:pt x="19050" y="85052"/>
                  </a:lnTo>
                  <a:lnTo>
                    <a:pt x="20010" y="83541"/>
                  </a:lnTo>
                  <a:lnTo>
                    <a:pt x="20939" y="81884"/>
                  </a:lnTo>
                  <a:lnTo>
                    <a:pt x="21899" y="79983"/>
                  </a:lnTo>
                  <a:lnTo>
                    <a:pt x="24377" y="74817"/>
                  </a:lnTo>
                  <a:lnTo>
                    <a:pt x="26670" y="69845"/>
                  </a:lnTo>
                  <a:lnTo>
                    <a:pt x="28776" y="65166"/>
                  </a:lnTo>
                  <a:lnTo>
                    <a:pt x="30727" y="60731"/>
                  </a:lnTo>
                  <a:lnTo>
                    <a:pt x="32462" y="56636"/>
                  </a:lnTo>
                  <a:lnTo>
                    <a:pt x="34011" y="52786"/>
                  </a:lnTo>
                  <a:lnTo>
                    <a:pt x="34723" y="51031"/>
                  </a:lnTo>
                  <a:lnTo>
                    <a:pt x="35374" y="49277"/>
                  </a:lnTo>
                  <a:lnTo>
                    <a:pt x="35993" y="47668"/>
                  </a:lnTo>
                  <a:lnTo>
                    <a:pt x="36551" y="46206"/>
                  </a:lnTo>
                  <a:lnTo>
                    <a:pt x="36799" y="45572"/>
                  </a:lnTo>
                  <a:lnTo>
                    <a:pt x="37170" y="45085"/>
                  </a:lnTo>
                  <a:lnTo>
                    <a:pt x="37604" y="44597"/>
                  </a:lnTo>
                  <a:lnTo>
                    <a:pt x="38162" y="44256"/>
                  </a:lnTo>
                  <a:lnTo>
                    <a:pt x="38750" y="43964"/>
                  </a:lnTo>
                  <a:lnTo>
                    <a:pt x="39432" y="43720"/>
                  </a:lnTo>
                  <a:lnTo>
                    <a:pt x="40175" y="43476"/>
                  </a:lnTo>
                  <a:lnTo>
                    <a:pt x="40949" y="43330"/>
                  </a:lnTo>
                  <a:lnTo>
                    <a:pt x="41786" y="43233"/>
                  </a:lnTo>
                  <a:lnTo>
                    <a:pt x="42653" y="43184"/>
                  </a:lnTo>
                  <a:lnTo>
                    <a:pt x="43582" y="43184"/>
                  </a:lnTo>
                  <a:lnTo>
                    <a:pt x="44512" y="43233"/>
                  </a:lnTo>
                  <a:lnTo>
                    <a:pt x="45472" y="43281"/>
                  </a:lnTo>
                  <a:lnTo>
                    <a:pt x="46432" y="43379"/>
                  </a:lnTo>
                  <a:lnTo>
                    <a:pt x="47423" y="43525"/>
                  </a:lnTo>
                  <a:lnTo>
                    <a:pt x="48384" y="43720"/>
                  </a:lnTo>
                  <a:lnTo>
                    <a:pt x="50304" y="44061"/>
                  </a:lnTo>
                  <a:lnTo>
                    <a:pt x="52163" y="44402"/>
                  </a:lnTo>
                  <a:lnTo>
                    <a:pt x="53866" y="44890"/>
                  </a:lnTo>
                  <a:lnTo>
                    <a:pt x="55384" y="45280"/>
                  </a:lnTo>
                  <a:lnTo>
                    <a:pt x="57614" y="45962"/>
                  </a:lnTo>
                  <a:lnTo>
                    <a:pt x="58482" y="46206"/>
                  </a:lnTo>
                  <a:lnTo>
                    <a:pt x="58760" y="46206"/>
                  </a:lnTo>
                  <a:lnTo>
                    <a:pt x="59535" y="46206"/>
                  </a:lnTo>
                  <a:lnTo>
                    <a:pt x="60712" y="46255"/>
                  </a:lnTo>
                  <a:lnTo>
                    <a:pt x="62292" y="46303"/>
                  </a:lnTo>
                  <a:lnTo>
                    <a:pt x="64150" y="46450"/>
                  </a:lnTo>
                  <a:lnTo>
                    <a:pt x="66257" y="46645"/>
                  </a:lnTo>
                  <a:lnTo>
                    <a:pt x="68518" y="46888"/>
                  </a:lnTo>
                  <a:lnTo>
                    <a:pt x="70965" y="47327"/>
                  </a:lnTo>
                  <a:lnTo>
                    <a:pt x="72142" y="47571"/>
                  </a:lnTo>
                  <a:lnTo>
                    <a:pt x="73381" y="47814"/>
                  </a:lnTo>
                  <a:lnTo>
                    <a:pt x="74620" y="48107"/>
                  </a:lnTo>
                  <a:lnTo>
                    <a:pt x="75828" y="48497"/>
                  </a:lnTo>
                  <a:lnTo>
                    <a:pt x="77005" y="48887"/>
                  </a:lnTo>
                  <a:lnTo>
                    <a:pt x="78151" y="49277"/>
                  </a:lnTo>
                  <a:lnTo>
                    <a:pt x="79297" y="49813"/>
                  </a:lnTo>
                  <a:lnTo>
                    <a:pt x="80413" y="50300"/>
                  </a:lnTo>
                  <a:lnTo>
                    <a:pt x="81435" y="50885"/>
                  </a:lnTo>
                  <a:lnTo>
                    <a:pt x="82395" y="51470"/>
                  </a:lnTo>
                  <a:lnTo>
                    <a:pt x="83324" y="52152"/>
                  </a:lnTo>
                  <a:lnTo>
                    <a:pt x="84130" y="52835"/>
                  </a:lnTo>
                  <a:lnTo>
                    <a:pt x="84904" y="53663"/>
                  </a:lnTo>
                  <a:lnTo>
                    <a:pt x="85554" y="54492"/>
                  </a:lnTo>
                  <a:lnTo>
                    <a:pt x="86081" y="55418"/>
                  </a:lnTo>
                  <a:lnTo>
                    <a:pt x="86546" y="56295"/>
                  </a:lnTo>
                  <a:lnTo>
                    <a:pt x="87382" y="58489"/>
                  </a:lnTo>
                  <a:lnTo>
                    <a:pt x="88218" y="60731"/>
                  </a:lnTo>
                  <a:lnTo>
                    <a:pt x="89117" y="63070"/>
                  </a:lnTo>
                  <a:lnTo>
                    <a:pt x="89984" y="65507"/>
                  </a:lnTo>
                  <a:lnTo>
                    <a:pt x="91719" y="70528"/>
                  </a:lnTo>
                  <a:lnTo>
                    <a:pt x="93484" y="75743"/>
                  </a:lnTo>
                  <a:lnTo>
                    <a:pt x="95219" y="81007"/>
                  </a:lnTo>
                  <a:lnTo>
                    <a:pt x="96892" y="86320"/>
                  </a:lnTo>
                  <a:lnTo>
                    <a:pt x="98533" y="91535"/>
                  </a:lnTo>
                  <a:lnTo>
                    <a:pt x="100082" y="96555"/>
                  </a:lnTo>
                  <a:lnTo>
                    <a:pt x="101507" y="101332"/>
                  </a:lnTo>
                  <a:lnTo>
                    <a:pt x="102839" y="105767"/>
                  </a:lnTo>
                  <a:lnTo>
                    <a:pt x="103985" y="109764"/>
                  </a:lnTo>
                  <a:lnTo>
                    <a:pt x="104976" y="113176"/>
                  </a:lnTo>
                  <a:lnTo>
                    <a:pt x="105813" y="116051"/>
                  </a:lnTo>
                  <a:lnTo>
                    <a:pt x="106401" y="118196"/>
                  </a:lnTo>
                  <a:lnTo>
                    <a:pt x="106773" y="119561"/>
                  </a:lnTo>
                  <a:lnTo>
                    <a:pt x="106897" y="120000"/>
                  </a:lnTo>
                  <a:lnTo>
                    <a:pt x="107485" y="118391"/>
                  </a:lnTo>
                  <a:lnTo>
                    <a:pt x="108446" y="115662"/>
                  </a:lnTo>
                  <a:lnTo>
                    <a:pt x="109716" y="111957"/>
                  </a:lnTo>
                  <a:lnTo>
                    <a:pt x="111171" y="107522"/>
                  </a:lnTo>
                  <a:lnTo>
                    <a:pt x="111946" y="104939"/>
                  </a:lnTo>
                  <a:lnTo>
                    <a:pt x="112751" y="102307"/>
                  </a:lnTo>
                  <a:lnTo>
                    <a:pt x="113557" y="99528"/>
                  </a:lnTo>
                  <a:lnTo>
                    <a:pt x="114393" y="96604"/>
                  </a:lnTo>
                  <a:lnTo>
                    <a:pt x="115167" y="93631"/>
                  </a:lnTo>
                  <a:lnTo>
                    <a:pt x="115942" y="90511"/>
                  </a:lnTo>
                  <a:lnTo>
                    <a:pt x="116654" y="87392"/>
                  </a:lnTo>
                  <a:lnTo>
                    <a:pt x="117367" y="84126"/>
                  </a:lnTo>
                  <a:lnTo>
                    <a:pt x="117986" y="80909"/>
                  </a:lnTo>
                  <a:lnTo>
                    <a:pt x="118513" y="77595"/>
                  </a:lnTo>
                  <a:lnTo>
                    <a:pt x="119039" y="74378"/>
                  </a:lnTo>
                  <a:lnTo>
                    <a:pt x="119442" y="71161"/>
                  </a:lnTo>
                  <a:lnTo>
                    <a:pt x="119721" y="67896"/>
                  </a:lnTo>
                  <a:lnTo>
                    <a:pt x="119907" y="64727"/>
                  </a:lnTo>
                  <a:lnTo>
                    <a:pt x="120000" y="61705"/>
                  </a:lnTo>
                  <a:lnTo>
                    <a:pt x="119938" y="58683"/>
                  </a:lnTo>
                  <a:lnTo>
                    <a:pt x="119752" y="55808"/>
                  </a:lnTo>
                  <a:lnTo>
                    <a:pt x="119411" y="53078"/>
                  </a:lnTo>
                  <a:lnTo>
                    <a:pt x="118915" y="50398"/>
                  </a:lnTo>
                  <a:lnTo>
                    <a:pt x="118234" y="47912"/>
                  </a:lnTo>
                  <a:lnTo>
                    <a:pt x="117367" y="45621"/>
                  </a:lnTo>
                  <a:lnTo>
                    <a:pt x="116313" y="43476"/>
                  </a:lnTo>
                  <a:lnTo>
                    <a:pt x="115074" y="41624"/>
                  </a:lnTo>
                  <a:lnTo>
                    <a:pt x="113557" y="39918"/>
                  </a:lnTo>
                  <a:close/>
                </a:path>
              </a:pathLst>
            </a:custGeom>
            <a:solidFill>
              <a:srgbClr val="F2BA8B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5059"/>
            <p:cNvSpPr/>
            <p:nvPr/>
          </p:nvSpPr>
          <p:spPr>
            <a:xfrm>
              <a:off x="7818678" y="1151654"/>
              <a:ext cx="1576879" cy="107529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8551" y="27929"/>
                  </a:moveTo>
                  <a:lnTo>
                    <a:pt x="83359" y="3602"/>
                  </a:lnTo>
                  <a:lnTo>
                    <a:pt x="83199" y="3321"/>
                  </a:lnTo>
                  <a:lnTo>
                    <a:pt x="82593" y="2573"/>
                  </a:lnTo>
                  <a:lnTo>
                    <a:pt x="82147" y="2105"/>
                  </a:lnTo>
                  <a:lnTo>
                    <a:pt x="81573" y="1637"/>
                  </a:lnTo>
                  <a:lnTo>
                    <a:pt x="81222" y="1403"/>
                  </a:lnTo>
                  <a:lnTo>
                    <a:pt x="80871" y="1169"/>
                  </a:lnTo>
                  <a:lnTo>
                    <a:pt x="80488" y="982"/>
                  </a:lnTo>
                  <a:lnTo>
                    <a:pt x="80074" y="748"/>
                  </a:lnTo>
                  <a:lnTo>
                    <a:pt x="79627" y="514"/>
                  </a:lnTo>
                  <a:lnTo>
                    <a:pt x="79149" y="374"/>
                  </a:lnTo>
                  <a:lnTo>
                    <a:pt x="78639" y="233"/>
                  </a:lnTo>
                  <a:lnTo>
                    <a:pt x="78065" y="140"/>
                  </a:lnTo>
                  <a:lnTo>
                    <a:pt x="77491" y="46"/>
                  </a:lnTo>
                  <a:lnTo>
                    <a:pt x="76917" y="0"/>
                  </a:lnTo>
                  <a:lnTo>
                    <a:pt x="76247" y="0"/>
                  </a:lnTo>
                  <a:lnTo>
                    <a:pt x="75577" y="46"/>
                  </a:lnTo>
                  <a:lnTo>
                    <a:pt x="74844" y="140"/>
                  </a:lnTo>
                  <a:lnTo>
                    <a:pt x="74111" y="233"/>
                  </a:lnTo>
                  <a:lnTo>
                    <a:pt x="73313" y="421"/>
                  </a:lnTo>
                  <a:lnTo>
                    <a:pt x="72484" y="701"/>
                  </a:lnTo>
                  <a:lnTo>
                    <a:pt x="71591" y="1029"/>
                  </a:lnTo>
                  <a:lnTo>
                    <a:pt x="70698" y="1403"/>
                  </a:lnTo>
                  <a:lnTo>
                    <a:pt x="69774" y="1871"/>
                  </a:lnTo>
                  <a:lnTo>
                    <a:pt x="68817" y="2339"/>
                  </a:lnTo>
                  <a:lnTo>
                    <a:pt x="67095" y="3274"/>
                  </a:lnTo>
                  <a:lnTo>
                    <a:pt x="65022" y="4397"/>
                  </a:lnTo>
                  <a:lnTo>
                    <a:pt x="62567" y="5660"/>
                  </a:lnTo>
                  <a:lnTo>
                    <a:pt x="59888" y="7017"/>
                  </a:lnTo>
                  <a:lnTo>
                    <a:pt x="56954" y="8467"/>
                  </a:lnTo>
                  <a:lnTo>
                    <a:pt x="53829" y="10105"/>
                  </a:lnTo>
                  <a:lnTo>
                    <a:pt x="50544" y="11742"/>
                  </a:lnTo>
                  <a:lnTo>
                    <a:pt x="47228" y="13426"/>
                  </a:lnTo>
                  <a:lnTo>
                    <a:pt x="43816" y="15157"/>
                  </a:lnTo>
                  <a:lnTo>
                    <a:pt x="40435" y="16935"/>
                  </a:lnTo>
                  <a:lnTo>
                    <a:pt x="37055" y="18619"/>
                  </a:lnTo>
                  <a:lnTo>
                    <a:pt x="33834" y="20397"/>
                  </a:lnTo>
                  <a:lnTo>
                    <a:pt x="30741" y="22035"/>
                  </a:lnTo>
                  <a:lnTo>
                    <a:pt x="27839" y="23672"/>
                  </a:lnTo>
                  <a:lnTo>
                    <a:pt x="25160" y="25169"/>
                  </a:lnTo>
                  <a:lnTo>
                    <a:pt x="22832" y="26573"/>
                  </a:lnTo>
                  <a:lnTo>
                    <a:pt x="20855" y="27742"/>
                  </a:lnTo>
                  <a:lnTo>
                    <a:pt x="19293" y="28771"/>
                  </a:lnTo>
                  <a:lnTo>
                    <a:pt x="18623" y="29286"/>
                  </a:lnTo>
                  <a:lnTo>
                    <a:pt x="17985" y="29847"/>
                  </a:lnTo>
                  <a:lnTo>
                    <a:pt x="17730" y="30222"/>
                  </a:lnTo>
                  <a:lnTo>
                    <a:pt x="17475" y="30549"/>
                  </a:lnTo>
                  <a:lnTo>
                    <a:pt x="17188" y="30923"/>
                  </a:lnTo>
                  <a:lnTo>
                    <a:pt x="16933" y="31345"/>
                  </a:lnTo>
                  <a:lnTo>
                    <a:pt x="16678" y="31766"/>
                  </a:lnTo>
                  <a:lnTo>
                    <a:pt x="16423" y="32233"/>
                  </a:lnTo>
                  <a:lnTo>
                    <a:pt x="16199" y="32795"/>
                  </a:lnTo>
                  <a:lnTo>
                    <a:pt x="15976" y="33356"/>
                  </a:lnTo>
                  <a:lnTo>
                    <a:pt x="15466" y="34713"/>
                  </a:lnTo>
                  <a:lnTo>
                    <a:pt x="14988" y="36257"/>
                  </a:lnTo>
                  <a:lnTo>
                    <a:pt x="14509" y="38128"/>
                  </a:lnTo>
                  <a:lnTo>
                    <a:pt x="13967" y="40280"/>
                  </a:lnTo>
                  <a:lnTo>
                    <a:pt x="13361" y="42760"/>
                  </a:lnTo>
                  <a:lnTo>
                    <a:pt x="12723" y="45614"/>
                  </a:lnTo>
                  <a:lnTo>
                    <a:pt x="11862" y="49824"/>
                  </a:lnTo>
                  <a:lnTo>
                    <a:pt x="10906" y="54643"/>
                  </a:lnTo>
                  <a:lnTo>
                    <a:pt x="9917" y="60023"/>
                  </a:lnTo>
                  <a:lnTo>
                    <a:pt x="8865" y="65730"/>
                  </a:lnTo>
                  <a:lnTo>
                    <a:pt x="7812" y="71719"/>
                  </a:lnTo>
                  <a:lnTo>
                    <a:pt x="6728" y="77894"/>
                  </a:lnTo>
                  <a:lnTo>
                    <a:pt x="5708" y="84023"/>
                  </a:lnTo>
                  <a:lnTo>
                    <a:pt x="4719" y="90058"/>
                  </a:lnTo>
                  <a:lnTo>
                    <a:pt x="3731" y="95859"/>
                  </a:lnTo>
                  <a:lnTo>
                    <a:pt x="2838" y="101239"/>
                  </a:lnTo>
                  <a:lnTo>
                    <a:pt x="2040" y="106245"/>
                  </a:lnTo>
                  <a:lnTo>
                    <a:pt x="1371" y="110549"/>
                  </a:lnTo>
                  <a:lnTo>
                    <a:pt x="797" y="114152"/>
                  </a:lnTo>
                  <a:lnTo>
                    <a:pt x="382" y="116818"/>
                  </a:lnTo>
                  <a:lnTo>
                    <a:pt x="63" y="118549"/>
                  </a:lnTo>
                  <a:lnTo>
                    <a:pt x="0" y="119157"/>
                  </a:lnTo>
                  <a:lnTo>
                    <a:pt x="159" y="119204"/>
                  </a:lnTo>
                  <a:lnTo>
                    <a:pt x="605" y="119391"/>
                  </a:lnTo>
                  <a:lnTo>
                    <a:pt x="1339" y="119625"/>
                  </a:lnTo>
                  <a:lnTo>
                    <a:pt x="2327" y="119812"/>
                  </a:lnTo>
                  <a:lnTo>
                    <a:pt x="2901" y="119906"/>
                  </a:lnTo>
                  <a:lnTo>
                    <a:pt x="3507" y="119953"/>
                  </a:lnTo>
                  <a:lnTo>
                    <a:pt x="4177" y="120000"/>
                  </a:lnTo>
                  <a:lnTo>
                    <a:pt x="4847" y="120000"/>
                  </a:lnTo>
                  <a:lnTo>
                    <a:pt x="5580" y="119953"/>
                  </a:lnTo>
                  <a:lnTo>
                    <a:pt x="6346" y="119859"/>
                  </a:lnTo>
                  <a:lnTo>
                    <a:pt x="7143" y="119719"/>
                  </a:lnTo>
                  <a:lnTo>
                    <a:pt x="7972" y="119485"/>
                  </a:lnTo>
                  <a:lnTo>
                    <a:pt x="8801" y="119204"/>
                  </a:lnTo>
                  <a:lnTo>
                    <a:pt x="9630" y="118877"/>
                  </a:lnTo>
                  <a:lnTo>
                    <a:pt x="10491" y="118409"/>
                  </a:lnTo>
                  <a:lnTo>
                    <a:pt x="11384" y="117894"/>
                  </a:lnTo>
                  <a:lnTo>
                    <a:pt x="12245" y="117239"/>
                  </a:lnTo>
                  <a:lnTo>
                    <a:pt x="13138" y="116538"/>
                  </a:lnTo>
                  <a:lnTo>
                    <a:pt x="13999" y="115695"/>
                  </a:lnTo>
                  <a:lnTo>
                    <a:pt x="14860" y="114713"/>
                  </a:lnTo>
                  <a:lnTo>
                    <a:pt x="15689" y="113637"/>
                  </a:lnTo>
                  <a:lnTo>
                    <a:pt x="16518" y="112421"/>
                  </a:lnTo>
                  <a:lnTo>
                    <a:pt x="17379" y="111064"/>
                  </a:lnTo>
                  <a:lnTo>
                    <a:pt x="18176" y="109614"/>
                  </a:lnTo>
                  <a:lnTo>
                    <a:pt x="18910" y="107929"/>
                  </a:lnTo>
                  <a:lnTo>
                    <a:pt x="19643" y="106152"/>
                  </a:lnTo>
                  <a:lnTo>
                    <a:pt x="20345" y="104140"/>
                  </a:lnTo>
                  <a:lnTo>
                    <a:pt x="20983" y="101988"/>
                  </a:lnTo>
                  <a:lnTo>
                    <a:pt x="21876" y="98994"/>
                  </a:lnTo>
                  <a:lnTo>
                    <a:pt x="22673" y="96046"/>
                  </a:lnTo>
                  <a:lnTo>
                    <a:pt x="23438" y="93192"/>
                  </a:lnTo>
                  <a:lnTo>
                    <a:pt x="24204" y="90432"/>
                  </a:lnTo>
                  <a:lnTo>
                    <a:pt x="24905" y="87672"/>
                  </a:lnTo>
                  <a:lnTo>
                    <a:pt x="25607" y="85052"/>
                  </a:lnTo>
                  <a:lnTo>
                    <a:pt x="26213" y="82526"/>
                  </a:lnTo>
                  <a:lnTo>
                    <a:pt x="26819" y="80093"/>
                  </a:lnTo>
                  <a:lnTo>
                    <a:pt x="27393" y="77707"/>
                  </a:lnTo>
                  <a:lnTo>
                    <a:pt x="27935" y="75461"/>
                  </a:lnTo>
                  <a:lnTo>
                    <a:pt x="28413" y="73263"/>
                  </a:lnTo>
                  <a:lnTo>
                    <a:pt x="28891" y="71157"/>
                  </a:lnTo>
                  <a:lnTo>
                    <a:pt x="29338" y="69192"/>
                  </a:lnTo>
                  <a:lnTo>
                    <a:pt x="29689" y="67274"/>
                  </a:lnTo>
                  <a:lnTo>
                    <a:pt x="30039" y="65543"/>
                  </a:lnTo>
                  <a:lnTo>
                    <a:pt x="30358" y="63859"/>
                  </a:lnTo>
                  <a:lnTo>
                    <a:pt x="30518" y="63204"/>
                  </a:lnTo>
                  <a:lnTo>
                    <a:pt x="30837" y="62549"/>
                  </a:lnTo>
                  <a:lnTo>
                    <a:pt x="31187" y="61988"/>
                  </a:lnTo>
                  <a:lnTo>
                    <a:pt x="31698" y="61380"/>
                  </a:lnTo>
                  <a:lnTo>
                    <a:pt x="32272" y="60865"/>
                  </a:lnTo>
                  <a:lnTo>
                    <a:pt x="32878" y="60350"/>
                  </a:lnTo>
                  <a:lnTo>
                    <a:pt x="33611" y="59883"/>
                  </a:lnTo>
                  <a:lnTo>
                    <a:pt x="34408" y="59415"/>
                  </a:lnTo>
                  <a:lnTo>
                    <a:pt x="35269" y="59040"/>
                  </a:lnTo>
                  <a:lnTo>
                    <a:pt x="36162" y="58666"/>
                  </a:lnTo>
                  <a:lnTo>
                    <a:pt x="37087" y="58245"/>
                  </a:lnTo>
                  <a:lnTo>
                    <a:pt x="38044" y="57964"/>
                  </a:lnTo>
                  <a:lnTo>
                    <a:pt x="39064" y="57637"/>
                  </a:lnTo>
                  <a:lnTo>
                    <a:pt x="40053" y="57356"/>
                  </a:lnTo>
                  <a:lnTo>
                    <a:pt x="41073" y="57076"/>
                  </a:lnTo>
                  <a:lnTo>
                    <a:pt x="42125" y="56842"/>
                  </a:lnTo>
                  <a:lnTo>
                    <a:pt x="44166" y="56467"/>
                  </a:lnTo>
                  <a:lnTo>
                    <a:pt x="46112" y="56140"/>
                  </a:lnTo>
                  <a:lnTo>
                    <a:pt x="47961" y="55859"/>
                  </a:lnTo>
                  <a:lnTo>
                    <a:pt x="49588" y="55672"/>
                  </a:lnTo>
                  <a:lnTo>
                    <a:pt x="52011" y="55438"/>
                  </a:lnTo>
                  <a:lnTo>
                    <a:pt x="52904" y="55345"/>
                  </a:lnTo>
                  <a:lnTo>
                    <a:pt x="53255" y="55345"/>
                  </a:lnTo>
                  <a:lnTo>
                    <a:pt x="54148" y="55391"/>
                  </a:lnTo>
                  <a:lnTo>
                    <a:pt x="54786" y="55438"/>
                  </a:lnTo>
                  <a:lnTo>
                    <a:pt x="55519" y="55578"/>
                  </a:lnTo>
                  <a:lnTo>
                    <a:pt x="56380" y="55766"/>
                  </a:lnTo>
                  <a:lnTo>
                    <a:pt x="57273" y="56000"/>
                  </a:lnTo>
                  <a:lnTo>
                    <a:pt x="58293" y="56421"/>
                  </a:lnTo>
                  <a:lnTo>
                    <a:pt x="59346" y="56888"/>
                  </a:lnTo>
                  <a:lnTo>
                    <a:pt x="59888" y="57169"/>
                  </a:lnTo>
                  <a:lnTo>
                    <a:pt x="60430" y="57543"/>
                  </a:lnTo>
                  <a:lnTo>
                    <a:pt x="61004" y="57918"/>
                  </a:lnTo>
                  <a:lnTo>
                    <a:pt x="61578" y="58292"/>
                  </a:lnTo>
                  <a:lnTo>
                    <a:pt x="62152" y="58760"/>
                  </a:lnTo>
                  <a:lnTo>
                    <a:pt x="62758" y="59228"/>
                  </a:lnTo>
                  <a:lnTo>
                    <a:pt x="63300" y="59789"/>
                  </a:lnTo>
                  <a:lnTo>
                    <a:pt x="63906" y="60304"/>
                  </a:lnTo>
                  <a:lnTo>
                    <a:pt x="64512" y="60959"/>
                  </a:lnTo>
                  <a:lnTo>
                    <a:pt x="65086" y="61614"/>
                  </a:lnTo>
                  <a:lnTo>
                    <a:pt x="65628" y="62315"/>
                  </a:lnTo>
                  <a:lnTo>
                    <a:pt x="66234" y="63111"/>
                  </a:lnTo>
                  <a:lnTo>
                    <a:pt x="67414" y="64795"/>
                  </a:lnTo>
                  <a:lnTo>
                    <a:pt x="68434" y="66619"/>
                  </a:lnTo>
                  <a:lnTo>
                    <a:pt x="69391" y="68444"/>
                  </a:lnTo>
                  <a:lnTo>
                    <a:pt x="70252" y="70362"/>
                  </a:lnTo>
                  <a:lnTo>
                    <a:pt x="71017" y="72280"/>
                  </a:lnTo>
                  <a:lnTo>
                    <a:pt x="71687" y="74292"/>
                  </a:lnTo>
                  <a:lnTo>
                    <a:pt x="72261" y="76210"/>
                  </a:lnTo>
                  <a:lnTo>
                    <a:pt x="72771" y="78222"/>
                  </a:lnTo>
                  <a:lnTo>
                    <a:pt x="73218" y="80280"/>
                  </a:lnTo>
                  <a:lnTo>
                    <a:pt x="73568" y="82292"/>
                  </a:lnTo>
                  <a:lnTo>
                    <a:pt x="73855" y="84257"/>
                  </a:lnTo>
                  <a:lnTo>
                    <a:pt x="74111" y="86269"/>
                  </a:lnTo>
                  <a:lnTo>
                    <a:pt x="74302" y="88280"/>
                  </a:lnTo>
                  <a:lnTo>
                    <a:pt x="74398" y="90198"/>
                  </a:lnTo>
                  <a:lnTo>
                    <a:pt x="74493" y="92116"/>
                  </a:lnTo>
                  <a:lnTo>
                    <a:pt x="74525" y="93988"/>
                  </a:lnTo>
                  <a:lnTo>
                    <a:pt x="74525" y="95812"/>
                  </a:lnTo>
                  <a:lnTo>
                    <a:pt x="74493" y="97543"/>
                  </a:lnTo>
                  <a:lnTo>
                    <a:pt x="74429" y="99228"/>
                  </a:lnTo>
                  <a:lnTo>
                    <a:pt x="74366" y="100818"/>
                  </a:lnTo>
                  <a:lnTo>
                    <a:pt x="74270" y="102315"/>
                  </a:lnTo>
                  <a:lnTo>
                    <a:pt x="74142" y="103812"/>
                  </a:lnTo>
                  <a:lnTo>
                    <a:pt x="74015" y="105122"/>
                  </a:lnTo>
                  <a:lnTo>
                    <a:pt x="73855" y="106339"/>
                  </a:lnTo>
                  <a:lnTo>
                    <a:pt x="73600" y="108444"/>
                  </a:lnTo>
                  <a:lnTo>
                    <a:pt x="73377" y="109988"/>
                  </a:lnTo>
                  <a:lnTo>
                    <a:pt x="73218" y="110970"/>
                  </a:lnTo>
                  <a:lnTo>
                    <a:pt x="73122" y="111298"/>
                  </a:lnTo>
                  <a:lnTo>
                    <a:pt x="115216" y="107321"/>
                  </a:lnTo>
                  <a:lnTo>
                    <a:pt x="115535" y="105543"/>
                  </a:lnTo>
                  <a:lnTo>
                    <a:pt x="116077" y="102502"/>
                  </a:lnTo>
                  <a:lnTo>
                    <a:pt x="116747" y="98526"/>
                  </a:lnTo>
                  <a:lnTo>
                    <a:pt x="117480" y="93660"/>
                  </a:lnTo>
                  <a:lnTo>
                    <a:pt x="117895" y="90947"/>
                  </a:lnTo>
                  <a:lnTo>
                    <a:pt x="118246" y="88093"/>
                  </a:lnTo>
                  <a:lnTo>
                    <a:pt x="118628" y="85099"/>
                  </a:lnTo>
                  <a:lnTo>
                    <a:pt x="118947" y="81964"/>
                  </a:lnTo>
                  <a:lnTo>
                    <a:pt x="119234" y="78830"/>
                  </a:lnTo>
                  <a:lnTo>
                    <a:pt x="119521" y="75555"/>
                  </a:lnTo>
                  <a:lnTo>
                    <a:pt x="119712" y="72233"/>
                  </a:lnTo>
                  <a:lnTo>
                    <a:pt x="119872" y="68865"/>
                  </a:lnTo>
                  <a:lnTo>
                    <a:pt x="119968" y="65543"/>
                  </a:lnTo>
                  <a:lnTo>
                    <a:pt x="120000" y="62175"/>
                  </a:lnTo>
                  <a:lnTo>
                    <a:pt x="119968" y="58853"/>
                  </a:lnTo>
                  <a:lnTo>
                    <a:pt x="119840" y="55578"/>
                  </a:lnTo>
                  <a:lnTo>
                    <a:pt x="119617" y="52397"/>
                  </a:lnTo>
                  <a:lnTo>
                    <a:pt x="119266" y="49263"/>
                  </a:lnTo>
                  <a:lnTo>
                    <a:pt x="118851" y="46315"/>
                  </a:lnTo>
                  <a:lnTo>
                    <a:pt x="118277" y="43461"/>
                  </a:lnTo>
                  <a:lnTo>
                    <a:pt x="117576" y="40748"/>
                  </a:lnTo>
                  <a:lnTo>
                    <a:pt x="116747" y="38269"/>
                  </a:lnTo>
                  <a:lnTo>
                    <a:pt x="115790" y="35929"/>
                  </a:lnTo>
                  <a:lnTo>
                    <a:pt x="114674" y="33824"/>
                  </a:lnTo>
                  <a:lnTo>
                    <a:pt x="113430" y="31906"/>
                  </a:lnTo>
                  <a:lnTo>
                    <a:pt x="111963" y="30315"/>
                  </a:lnTo>
                  <a:lnTo>
                    <a:pt x="110337" y="29005"/>
                  </a:lnTo>
                  <a:lnTo>
                    <a:pt x="108551" y="27929"/>
                  </a:ln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Shape 5060"/>
            <p:cNvSpPr/>
            <p:nvPr/>
          </p:nvSpPr>
          <p:spPr>
            <a:xfrm>
              <a:off x="6956427" y="1289212"/>
              <a:ext cx="1737922" cy="171946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2937" y="16210"/>
                  </a:moveTo>
                  <a:lnTo>
                    <a:pt x="92937" y="15947"/>
                  </a:lnTo>
                  <a:lnTo>
                    <a:pt x="92937" y="15654"/>
                  </a:lnTo>
                  <a:lnTo>
                    <a:pt x="92908" y="14864"/>
                  </a:lnTo>
                  <a:lnTo>
                    <a:pt x="92821" y="14045"/>
                  </a:lnTo>
                  <a:lnTo>
                    <a:pt x="92706" y="13284"/>
                  </a:lnTo>
                  <a:lnTo>
                    <a:pt x="92561" y="12523"/>
                  </a:lnTo>
                  <a:lnTo>
                    <a:pt x="92387" y="11762"/>
                  </a:lnTo>
                  <a:lnTo>
                    <a:pt x="92185" y="11031"/>
                  </a:lnTo>
                  <a:lnTo>
                    <a:pt x="91924" y="10299"/>
                  </a:lnTo>
                  <a:lnTo>
                    <a:pt x="91635" y="9597"/>
                  </a:lnTo>
                  <a:lnTo>
                    <a:pt x="91316" y="8924"/>
                  </a:lnTo>
                  <a:lnTo>
                    <a:pt x="90998" y="8251"/>
                  </a:lnTo>
                  <a:lnTo>
                    <a:pt x="90593" y="7607"/>
                  </a:lnTo>
                  <a:lnTo>
                    <a:pt x="90217" y="6964"/>
                  </a:lnTo>
                  <a:lnTo>
                    <a:pt x="89782" y="6378"/>
                  </a:lnTo>
                  <a:lnTo>
                    <a:pt x="89290" y="5793"/>
                  </a:lnTo>
                  <a:lnTo>
                    <a:pt x="88827" y="5208"/>
                  </a:lnTo>
                  <a:lnTo>
                    <a:pt x="88306" y="4652"/>
                  </a:lnTo>
                  <a:lnTo>
                    <a:pt x="87785" y="4125"/>
                  </a:lnTo>
                  <a:lnTo>
                    <a:pt x="87206" y="3657"/>
                  </a:lnTo>
                  <a:lnTo>
                    <a:pt x="86628" y="3189"/>
                  </a:lnTo>
                  <a:lnTo>
                    <a:pt x="86049" y="2750"/>
                  </a:lnTo>
                  <a:lnTo>
                    <a:pt x="85441" y="2340"/>
                  </a:lnTo>
                  <a:lnTo>
                    <a:pt x="84775" y="1960"/>
                  </a:lnTo>
                  <a:lnTo>
                    <a:pt x="84109" y="1609"/>
                  </a:lnTo>
                  <a:lnTo>
                    <a:pt x="83444" y="1287"/>
                  </a:lnTo>
                  <a:lnTo>
                    <a:pt x="82749" y="994"/>
                  </a:lnTo>
                  <a:lnTo>
                    <a:pt x="82026" y="760"/>
                  </a:lnTo>
                  <a:lnTo>
                    <a:pt x="81302" y="526"/>
                  </a:lnTo>
                  <a:lnTo>
                    <a:pt x="80520" y="351"/>
                  </a:lnTo>
                  <a:lnTo>
                    <a:pt x="79768" y="204"/>
                  </a:lnTo>
                  <a:lnTo>
                    <a:pt x="79015" y="87"/>
                  </a:lnTo>
                  <a:lnTo>
                    <a:pt x="78234" y="29"/>
                  </a:lnTo>
                  <a:lnTo>
                    <a:pt x="77424" y="0"/>
                  </a:lnTo>
                  <a:lnTo>
                    <a:pt x="76642" y="0"/>
                  </a:lnTo>
                  <a:lnTo>
                    <a:pt x="75803" y="29"/>
                  </a:lnTo>
                  <a:lnTo>
                    <a:pt x="75021" y="117"/>
                  </a:lnTo>
                  <a:lnTo>
                    <a:pt x="74240" y="234"/>
                  </a:lnTo>
                  <a:lnTo>
                    <a:pt x="73458" y="380"/>
                  </a:lnTo>
                  <a:lnTo>
                    <a:pt x="72735" y="585"/>
                  </a:lnTo>
                  <a:lnTo>
                    <a:pt x="71982" y="848"/>
                  </a:lnTo>
                  <a:lnTo>
                    <a:pt x="71259" y="1111"/>
                  </a:lnTo>
                  <a:lnTo>
                    <a:pt x="70564" y="1433"/>
                  </a:lnTo>
                  <a:lnTo>
                    <a:pt x="69869" y="1755"/>
                  </a:lnTo>
                  <a:lnTo>
                    <a:pt x="69204" y="2136"/>
                  </a:lnTo>
                  <a:lnTo>
                    <a:pt x="68538" y="2516"/>
                  </a:lnTo>
                  <a:lnTo>
                    <a:pt x="67930" y="2955"/>
                  </a:lnTo>
                  <a:lnTo>
                    <a:pt x="67322" y="3394"/>
                  </a:lnTo>
                  <a:lnTo>
                    <a:pt x="66714" y="3891"/>
                  </a:lnTo>
                  <a:lnTo>
                    <a:pt x="66164" y="4418"/>
                  </a:lnTo>
                  <a:lnTo>
                    <a:pt x="65615" y="4974"/>
                  </a:lnTo>
                  <a:lnTo>
                    <a:pt x="65123" y="5530"/>
                  </a:lnTo>
                  <a:lnTo>
                    <a:pt x="64630" y="6115"/>
                  </a:lnTo>
                  <a:lnTo>
                    <a:pt x="64167" y="6759"/>
                  </a:lnTo>
                  <a:lnTo>
                    <a:pt x="63762" y="7373"/>
                  </a:lnTo>
                  <a:lnTo>
                    <a:pt x="63357" y="8046"/>
                  </a:lnTo>
                  <a:lnTo>
                    <a:pt x="62981" y="8719"/>
                  </a:lnTo>
                  <a:lnTo>
                    <a:pt x="62662" y="9422"/>
                  </a:lnTo>
                  <a:lnTo>
                    <a:pt x="62402" y="10153"/>
                  </a:lnTo>
                  <a:lnTo>
                    <a:pt x="62112" y="10885"/>
                  </a:lnTo>
                  <a:lnTo>
                    <a:pt x="61881" y="11645"/>
                  </a:lnTo>
                  <a:lnTo>
                    <a:pt x="61707" y="12406"/>
                  </a:lnTo>
                  <a:lnTo>
                    <a:pt x="61534" y="13196"/>
                  </a:lnTo>
                  <a:lnTo>
                    <a:pt x="61418" y="13986"/>
                  </a:lnTo>
                  <a:lnTo>
                    <a:pt x="61360" y="14776"/>
                  </a:lnTo>
                  <a:lnTo>
                    <a:pt x="61302" y="15625"/>
                  </a:lnTo>
                  <a:lnTo>
                    <a:pt x="61418" y="16356"/>
                  </a:lnTo>
                  <a:lnTo>
                    <a:pt x="61562" y="17029"/>
                  </a:lnTo>
                  <a:lnTo>
                    <a:pt x="61707" y="17702"/>
                  </a:lnTo>
                  <a:lnTo>
                    <a:pt x="61852" y="18317"/>
                  </a:lnTo>
                  <a:lnTo>
                    <a:pt x="62170" y="19546"/>
                  </a:lnTo>
                  <a:lnTo>
                    <a:pt x="62547" y="20658"/>
                  </a:lnTo>
                  <a:lnTo>
                    <a:pt x="62952" y="21682"/>
                  </a:lnTo>
                  <a:lnTo>
                    <a:pt x="63386" y="22677"/>
                  </a:lnTo>
                  <a:lnTo>
                    <a:pt x="63820" y="23584"/>
                  </a:lnTo>
                  <a:lnTo>
                    <a:pt x="64283" y="24491"/>
                  </a:lnTo>
                  <a:lnTo>
                    <a:pt x="65267" y="26217"/>
                  </a:lnTo>
                  <a:lnTo>
                    <a:pt x="66251" y="27944"/>
                  </a:lnTo>
                  <a:lnTo>
                    <a:pt x="66743" y="28822"/>
                  </a:lnTo>
                  <a:lnTo>
                    <a:pt x="67264" y="29787"/>
                  </a:lnTo>
                  <a:lnTo>
                    <a:pt x="67727" y="30753"/>
                  </a:lnTo>
                  <a:lnTo>
                    <a:pt x="68191" y="31806"/>
                  </a:lnTo>
                  <a:lnTo>
                    <a:pt x="33632" y="31104"/>
                  </a:lnTo>
                  <a:lnTo>
                    <a:pt x="32966" y="65720"/>
                  </a:lnTo>
                  <a:lnTo>
                    <a:pt x="31751" y="65252"/>
                  </a:lnTo>
                  <a:lnTo>
                    <a:pt x="30564" y="64696"/>
                  </a:lnTo>
                  <a:lnTo>
                    <a:pt x="29464" y="64111"/>
                  </a:lnTo>
                  <a:lnTo>
                    <a:pt x="28335" y="63496"/>
                  </a:lnTo>
                  <a:lnTo>
                    <a:pt x="26222" y="62297"/>
                  </a:lnTo>
                  <a:lnTo>
                    <a:pt x="24167" y="61155"/>
                  </a:lnTo>
                  <a:lnTo>
                    <a:pt x="23183" y="60599"/>
                  </a:lnTo>
                  <a:lnTo>
                    <a:pt x="22170" y="60073"/>
                  </a:lnTo>
                  <a:lnTo>
                    <a:pt x="21186" y="59634"/>
                  </a:lnTo>
                  <a:lnTo>
                    <a:pt x="20173" y="59224"/>
                  </a:lnTo>
                  <a:lnTo>
                    <a:pt x="19681" y="59078"/>
                  </a:lnTo>
                  <a:lnTo>
                    <a:pt x="19218" y="58931"/>
                  </a:lnTo>
                  <a:lnTo>
                    <a:pt x="18697" y="58756"/>
                  </a:lnTo>
                  <a:lnTo>
                    <a:pt x="18176" y="58639"/>
                  </a:lnTo>
                  <a:lnTo>
                    <a:pt x="17684" y="58551"/>
                  </a:lnTo>
                  <a:lnTo>
                    <a:pt x="17192" y="58493"/>
                  </a:lnTo>
                  <a:lnTo>
                    <a:pt x="16671" y="58434"/>
                  </a:lnTo>
                  <a:lnTo>
                    <a:pt x="16150" y="58405"/>
                  </a:lnTo>
                  <a:lnTo>
                    <a:pt x="15861" y="58405"/>
                  </a:lnTo>
                  <a:lnTo>
                    <a:pt x="15542" y="58434"/>
                  </a:lnTo>
                  <a:lnTo>
                    <a:pt x="14761" y="58463"/>
                  </a:lnTo>
                  <a:lnTo>
                    <a:pt x="13979" y="58522"/>
                  </a:lnTo>
                  <a:lnTo>
                    <a:pt x="13198" y="58639"/>
                  </a:lnTo>
                  <a:lnTo>
                    <a:pt x="12445" y="58756"/>
                  </a:lnTo>
                  <a:lnTo>
                    <a:pt x="11722" y="58961"/>
                  </a:lnTo>
                  <a:lnTo>
                    <a:pt x="10969" y="59195"/>
                  </a:lnTo>
                  <a:lnTo>
                    <a:pt x="10246" y="59429"/>
                  </a:lnTo>
                  <a:lnTo>
                    <a:pt x="9551" y="59722"/>
                  </a:lnTo>
                  <a:lnTo>
                    <a:pt x="8885" y="60014"/>
                  </a:lnTo>
                  <a:lnTo>
                    <a:pt x="8219" y="60395"/>
                  </a:lnTo>
                  <a:lnTo>
                    <a:pt x="7554" y="60746"/>
                  </a:lnTo>
                  <a:lnTo>
                    <a:pt x="6975" y="61155"/>
                  </a:lnTo>
                  <a:lnTo>
                    <a:pt x="6367" y="61594"/>
                  </a:lnTo>
                  <a:lnTo>
                    <a:pt x="5788" y="62062"/>
                  </a:lnTo>
                  <a:lnTo>
                    <a:pt x="5209" y="62560"/>
                  </a:lnTo>
                  <a:lnTo>
                    <a:pt x="4659" y="63087"/>
                  </a:lnTo>
                  <a:lnTo>
                    <a:pt x="4138" y="63613"/>
                  </a:lnTo>
                  <a:lnTo>
                    <a:pt x="3675" y="64169"/>
                  </a:lnTo>
                  <a:lnTo>
                    <a:pt x="3212" y="64754"/>
                  </a:lnTo>
                  <a:lnTo>
                    <a:pt x="2778" y="65369"/>
                  </a:lnTo>
                  <a:lnTo>
                    <a:pt x="2373" y="66013"/>
                  </a:lnTo>
                  <a:lnTo>
                    <a:pt x="1997" y="66656"/>
                  </a:lnTo>
                  <a:lnTo>
                    <a:pt x="1649" y="67329"/>
                  </a:lnTo>
                  <a:lnTo>
                    <a:pt x="1331" y="68032"/>
                  </a:lnTo>
                  <a:lnTo>
                    <a:pt x="1041" y="68734"/>
                  </a:lnTo>
                  <a:lnTo>
                    <a:pt x="781" y="69436"/>
                  </a:lnTo>
                  <a:lnTo>
                    <a:pt x="578" y="70197"/>
                  </a:lnTo>
                  <a:lnTo>
                    <a:pt x="405" y="70929"/>
                  </a:lnTo>
                  <a:lnTo>
                    <a:pt x="260" y="71689"/>
                  </a:lnTo>
                  <a:lnTo>
                    <a:pt x="115" y="72479"/>
                  </a:lnTo>
                  <a:lnTo>
                    <a:pt x="57" y="73269"/>
                  </a:lnTo>
                  <a:lnTo>
                    <a:pt x="0" y="74059"/>
                  </a:lnTo>
                  <a:lnTo>
                    <a:pt x="28" y="74879"/>
                  </a:lnTo>
                  <a:lnTo>
                    <a:pt x="57" y="75698"/>
                  </a:lnTo>
                  <a:lnTo>
                    <a:pt x="144" y="76517"/>
                  </a:lnTo>
                  <a:lnTo>
                    <a:pt x="289" y="77307"/>
                  </a:lnTo>
                  <a:lnTo>
                    <a:pt x="434" y="78068"/>
                  </a:lnTo>
                  <a:lnTo>
                    <a:pt x="636" y="78829"/>
                  </a:lnTo>
                  <a:lnTo>
                    <a:pt x="897" y="79561"/>
                  </a:lnTo>
                  <a:lnTo>
                    <a:pt x="1157" y="80292"/>
                  </a:lnTo>
                  <a:lnTo>
                    <a:pt x="1447" y="81024"/>
                  </a:lnTo>
                  <a:lnTo>
                    <a:pt x="1794" y="81697"/>
                  </a:lnTo>
                  <a:lnTo>
                    <a:pt x="2141" y="82399"/>
                  </a:lnTo>
                  <a:lnTo>
                    <a:pt x="2547" y="83043"/>
                  </a:lnTo>
                  <a:lnTo>
                    <a:pt x="2981" y="83686"/>
                  </a:lnTo>
                  <a:lnTo>
                    <a:pt x="3415" y="84272"/>
                  </a:lnTo>
                  <a:lnTo>
                    <a:pt x="3907" y="84857"/>
                  </a:lnTo>
                  <a:lnTo>
                    <a:pt x="4428" y="85442"/>
                  </a:lnTo>
                  <a:lnTo>
                    <a:pt x="4978" y="85969"/>
                  </a:lnTo>
                  <a:lnTo>
                    <a:pt x="5528" y="86495"/>
                  </a:lnTo>
                  <a:lnTo>
                    <a:pt x="6107" y="86964"/>
                  </a:lnTo>
                  <a:lnTo>
                    <a:pt x="6714" y="87432"/>
                  </a:lnTo>
                  <a:lnTo>
                    <a:pt x="7351" y="87871"/>
                  </a:lnTo>
                  <a:lnTo>
                    <a:pt x="8017" y="88251"/>
                  </a:lnTo>
                  <a:lnTo>
                    <a:pt x="8683" y="88632"/>
                  </a:lnTo>
                  <a:lnTo>
                    <a:pt x="9377" y="88953"/>
                  </a:lnTo>
                  <a:lnTo>
                    <a:pt x="10101" y="89246"/>
                  </a:lnTo>
                  <a:lnTo>
                    <a:pt x="10824" y="89509"/>
                  </a:lnTo>
                  <a:lnTo>
                    <a:pt x="11577" y="89743"/>
                  </a:lnTo>
                  <a:lnTo>
                    <a:pt x="12329" y="89919"/>
                  </a:lnTo>
                  <a:lnTo>
                    <a:pt x="13111" y="90095"/>
                  </a:lnTo>
                  <a:lnTo>
                    <a:pt x="13921" y="90212"/>
                  </a:lnTo>
                  <a:lnTo>
                    <a:pt x="14703" y="90299"/>
                  </a:lnTo>
                  <a:lnTo>
                    <a:pt x="15513" y="90329"/>
                  </a:lnTo>
                  <a:lnTo>
                    <a:pt x="16266" y="90212"/>
                  </a:lnTo>
                  <a:lnTo>
                    <a:pt x="16989" y="90065"/>
                  </a:lnTo>
                  <a:lnTo>
                    <a:pt x="17684" y="89890"/>
                  </a:lnTo>
                  <a:lnTo>
                    <a:pt x="18350" y="89743"/>
                  </a:lnTo>
                  <a:lnTo>
                    <a:pt x="18986" y="89568"/>
                  </a:lnTo>
                  <a:lnTo>
                    <a:pt x="19594" y="89392"/>
                  </a:lnTo>
                  <a:lnTo>
                    <a:pt x="20202" y="89188"/>
                  </a:lnTo>
                  <a:lnTo>
                    <a:pt x="20752" y="88983"/>
                  </a:lnTo>
                  <a:lnTo>
                    <a:pt x="21852" y="88573"/>
                  </a:lnTo>
                  <a:lnTo>
                    <a:pt x="22836" y="88105"/>
                  </a:lnTo>
                  <a:lnTo>
                    <a:pt x="23791" y="87607"/>
                  </a:lnTo>
                  <a:lnTo>
                    <a:pt x="24717" y="87081"/>
                  </a:lnTo>
                  <a:lnTo>
                    <a:pt x="26483" y="86057"/>
                  </a:lnTo>
                  <a:lnTo>
                    <a:pt x="28335" y="84974"/>
                  </a:lnTo>
                  <a:lnTo>
                    <a:pt x="29319" y="84447"/>
                  </a:lnTo>
                  <a:lnTo>
                    <a:pt x="30332" y="83920"/>
                  </a:lnTo>
                  <a:lnTo>
                    <a:pt x="31461" y="83423"/>
                  </a:lnTo>
                  <a:lnTo>
                    <a:pt x="32648" y="82955"/>
                  </a:lnTo>
                  <a:lnTo>
                    <a:pt x="31924" y="118273"/>
                  </a:lnTo>
                  <a:lnTo>
                    <a:pt x="66657" y="118975"/>
                  </a:lnTo>
                  <a:lnTo>
                    <a:pt x="66193" y="117893"/>
                  </a:lnTo>
                  <a:lnTo>
                    <a:pt x="65672" y="116839"/>
                  </a:lnTo>
                  <a:lnTo>
                    <a:pt x="65209" y="115874"/>
                  </a:lnTo>
                  <a:lnTo>
                    <a:pt x="64688" y="114967"/>
                  </a:lnTo>
                  <a:lnTo>
                    <a:pt x="63646" y="113182"/>
                  </a:lnTo>
                  <a:lnTo>
                    <a:pt x="62691" y="111455"/>
                  </a:lnTo>
                  <a:lnTo>
                    <a:pt x="62199" y="110548"/>
                  </a:lnTo>
                  <a:lnTo>
                    <a:pt x="61765" y="109612"/>
                  </a:lnTo>
                  <a:lnTo>
                    <a:pt x="61302" y="108617"/>
                  </a:lnTo>
                  <a:lnTo>
                    <a:pt x="60897" y="107564"/>
                  </a:lnTo>
                  <a:lnTo>
                    <a:pt x="60520" y="106452"/>
                  </a:lnTo>
                  <a:lnTo>
                    <a:pt x="60173" y="105223"/>
                  </a:lnTo>
                  <a:lnTo>
                    <a:pt x="60028" y="104579"/>
                  </a:lnTo>
                  <a:lnTo>
                    <a:pt x="59884" y="103877"/>
                  </a:lnTo>
                  <a:lnTo>
                    <a:pt x="59768" y="103174"/>
                  </a:lnTo>
                  <a:lnTo>
                    <a:pt x="59623" y="102443"/>
                  </a:lnTo>
                  <a:lnTo>
                    <a:pt x="59681" y="101623"/>
                  </a:lnTo>
                  <a:lnTo>
                    <a:pt x="59768" y="100833"/>
                  </a:lnTo>
                  <a:lnTo>
                    <a:pt x="59855" y="100043"/>
                  </a:lnTo>
                  <a:lnTo>
                    <a:pt x="60000" y="99253"/>
                  </a:lnTo>
                  <a:lnTo>
                    <a:pt x="60202" y="98493"/>
                  </a:lnTo>
                  <a:lnTo>
                    <a:pt x="60434" y="97702"/>
                  </a:lnTo>
                  <a:lnTo>
                    <a:pt x="60694" y="96971"/>
                  </a:lnTo>
                  <a:lnTo>
                    <a:pt x="60984" y="96239"/>
                  </a:lnTo>
                  <a:lnTo>
                    <a:pt x="61331" y="95537"/>
                  </a:lnTo>
                  <a:lnTo>
                    <a:pt x="61707" y="94864"/>
                  </a:lnTo>
                  <a:lnTo>
                    <a:pt x="62083" y="94250"/>
                  </a:lnTo>
                  <a:lnTo>
                    <a:pt x="62518" y="93606"/>
                  </a:lnTo>
                  <a:lnTo>
                    <a:pt x="62952" y="92962"/>
                  </a:lnTo>
                  <a:lnTo>
                    <a:pt x="63444" y="92377"/>
                  </a:lnTo>
                  <a:lnTo>
                    <a:pt x="63936" y="91792"/>
                  </a:lnTo>
                  <a:lnTo>
                    <a:pt x="64486" y="91236"/>
                  </a:lnTo>
                  <a:lnTo>
                    <a:pt x="65036" y="90738"/>
                  </a:lnTo>
                  <a:lnTo>
                    <a:pt x="65615" y="90241"/>
                  </a:lnTo>
                  <a:lnTo>
                    <a:pt x="66222" y="89773"/>
                  </a:lnTo>
                  <a:lnTo>
                    <a:pt x="66859" y="89363"/>
                  </a:lnTo>
                  <a:lnTo>
                    <a:pt x="67496" y="88953"/>
                  </a:lnTo>
                  <a:lnTo>
                    <a:pt x="68162" y="88602"/>
                  </a:lnTo>
                  <a:lnTo>
                    <a:pt x="68856" y="88251"/>
                  </a:lnTo>
                  <a:lnTo>
                    <a:pt x="69551" y="87959"/>
                  </a:lnTo>
                  <a:lnTo>
                    <a:pt x="70274" y="87666"/>
                  </a:lnTo>
                  <a:lnTo>
                    <a:pt x="71027" y="87432"/>
                  </a:lnTo>
                  <a:lnTo>
                    <a:pt x="71780" y="87227"/>
                  </a:lnTo>
                  <a:lnTo>
                    <a:pt x="72561" y="87051"/>
                  </a:lnTo>
                  <a:lnTo>
                    <a:pt x="73342" y="86934"/>
                  </a:lnTo>
                  <a:lnTo>
                    <a:pt x="74124" y="86847"/>
                  </a:lnTo>
                  <a:lnTo>
                    <a:pt x="74934" y="86817"/>
                  </a:lnTo>
                  <a:lnTo>
                    <a:pt x="75745" y="86817"/>
                  </a:lnTo>
                  <a:lnTo>
                    <a:pt x="76526" y="86847"/>
                  </a:lnTo>
                  <a:lnTo>
                    <a:pt x="77337" y="86905"/>
                  </a:lnTo>
                  <a:lnTo>
                    <a:pt x="78089" y="87022"/>
                  </a:lnTo>
                  <a:lnTo>
                    <a:pt x="78871" y="87198"/>
                  </a:lnTo>
                  <a:lnTo>
                    <a:pt x="79594" y="87373"/>
                  </a:lnTo>
                  <a:lnTo>
                    <a:pt x="80318" y="87578"/>
                  </a:lnTo>
                  <a:lnTo>
                    <a:pt x="81041" y="87812"/>
                  </a:lnTo>
                  <a:lnTo>
                    <a:pt x="81736" y="88134"/>
                  </a:lnTo>
                  <a:lnTo>
                    <a:pt x="82431" y="88427"/>
                  </a:lnTo>
                  <a:lnTo>
                    <a:pt x="83096" y="88807"/>
                  </a:lnTo>
                  <a:lnTo>
                    <a:pt x="83733" y="89158"/>
                  </a:lnTo>
                  <a:lnTo>
                    <a:pt x="84370" y="89597"/>
                  </a:lnTo>
                  <a:lnTo>
                    <a:pt x="84949" y="90036"/>
                  </a:lnTo>
                  <a:lnTo>
                    <a:pt x="85557" y="90475"/>
                  </a:lnTo>
                  <a:lnTo>
                    <a:pt x="86107" y="90972"/>
                  </a:lnTo>
                  <a:lnTo>
                    <a:pt x="86628" y="91499"/>
                  </a:lnTo>
                  <a:lnTo>
                    <a:pt x="87149" y="92026"/>
                  </a:lnTo>
                  <a:lnTo>
                    <a:pt x="87641" y="92611"/>
                  </a:lnTo>
                  <a:lnTo>
                    <a:pt x="88104" y="93196"/>
                  </a:lnTo>
                  <a:lnTo>
                    <a:pt x="88509" y="93811"/>
                  </a:lnTo>
                  <a:lnTo>
                    <a:pt x="88943" y="94455"/>
                  </a:lnTo>
                  <a:lnTo>
                    <a:pt x="89290" y="95098"/>
                  </a:lnTo>
                  <a:lnTo>
                    <a:pt x="89638" y="95771"/>
                  </a:lnTo>
                  <a:lnTo>
                    <a:pt x="89956" y="96444"/>
                  </a:lnTo>
                  <a:lnTo>
                    <a:pt x="90246" y="97147"/>
                  </a:lnTo>
                  <a:lnTo>
                    <a:pt x="90477" y="97878"/>
                  </a:lnTo>
                  <a:lnTo>
                    <a:pt x="90680" y="98610"/>
                  </a:lnTo>
                  <a:lnTo>
                    <a:pt x="90882" y="99370"/>
                  </a:lnTo>
                  <a:lnTo>
                    <a:pt x="91027" y="100131"/>
                  </a:lnTo>
                  <a:lnTo>
                    <a:pt x="91143" y="100892"/>
                  </a:lnTo>
                  <a:lnTo>
                    <a:pt x="91201" y="101682"/>
                  </a:lnTo>
                  <a:lnTo>
                    <a:pt x="91230" y="102472"/>
                  </a:lnTo>
                  <a:lnTo>
                    <a:pt x="91259" y="102794"/>
                  </a:lnTo>
                  <a:lnTo>
                    <a:pt x="91230" y="103087"/>
                  </a:lnTo>
                  <a:lnTo>
                    <a:pt x="91230" y="103584"/>
                  </a:lnTo>
                  <a:lnTo>
                    <a:pt x="91172" y="104081"/>
                  </a:lnTo>
                  <a:lnTo>
                    <a:pt x="91114" y="104579"/>
                  </a:lnTo>
                  <a:lnTo>
                    <a:pt x="91027" y="105076"/>
                  </a:lnTo>
                  <a:lnTo>
                    <a:pt x="90911" y="105544"/>
                  </a:lnTo>
                  <a:lnTo>
                    <a:pt x="90795" y="106042"/>
                  </a:lnTo>
                  <a:lnTo>
                    <a:pt x="90622" y="106539"/>
                  </a:lnTo>
                  <a:lnTo>
                    <a:pt x="90477" y="107037"/>
                  </a:lnTo>
                  <a:lnTo>
                    <a:pt x="90130" y="107973"/>
                  </a:lnTo>
                  <a:lnTo>
                    <a:pt x="89696" y="108939"/>
                  </a:lnTo>
                  <a:lnTo>
                    <a:pt x="89204" y="109934"/>
                  </a:lnTo>
                  <a:lnTo>
                    <a:pt x="88683" y="110870"/>
                  </a:lnTo>
                  <a:lnTo>
                    <a:pt x="87612" y="112860"/>
                  </a:lnTo>
                  <a:lnTo>
                    <a:pt x="86454" y="114908"/>
                  </a:lnTo>
                  <a:lnTo>
                    <a:pt x="85875" y="115961"/>
                  </a:lnTo>
                  <a:lnTo>
                    <a:pt x="85354" y="117073"/>
                  </a:lnTo>
                  <a:lnTo>
                    <a:pt x="84804" y="118156"/>
                  </a:lnTo>
                  <a:lnTo>
                    <a:pt x="84283" y="119326"/>
                  </a:lnTo>
                  <a:lnTo>
                    <a:pt x="118292" y="120000"/>
                  </a:lnTo>
                  <a:lnTo>
                    <a:pt x="120000" y="32831"/>
                  </a:lnTo>
                  <a:lnTo>
                    <a:pt x="86136" y="32158"/>
                  </a:lnTo>
                  <a:lnTo>
                    <a:pt x="86599" y="31016"/>
                  </a:lnTo>
                  <a:lnTo>
                    <a:pt x="87149" y="29963"/>
                  </a:lnTo>
                  <a:lnTo>
                    <a:pt x="87698" y="28880"/>
                  </a:lnTo>
                  <a:lnTo>
                    <a:pt x="88277" y="27856"/>
                  </a:lnTo>
                  <a:lnTo>
                    <a:pt x="89406" y="25866"/>
                  </a:lnTo>
                  <a:lnTo>
                    <a:pt x="90448" y="23906"/>
                  </a:lnTo>
                  <a:lnTo>
                    <a:pt x="90969" y="22970"/>
                  </a:lnTo>
                  <a:lnTo>
                    <a:pt x="91432" y="22033"/>
                  </a:lnTo>
                  <a:lnTo>
                    <a:pt x="91837" y="21068"/>
                  </a:lnTo>
                  <a:lnTo>
                    <a:pt x="92185" y="20102"/>
                  </a:lnTo>
                  <a:lnTo>
                    <a:pt x="92358" y="19634"/>
                  </a:lnTo>
                  <a:lnTo>
                    <a:pt x="92474" y="19166"/>
                  </a:lnTo>
                  <a:lnTo>
                    <a:pt x="92590" y="18697"/>
                  </a:lnTo>
                  <a:lnTo>
                    <a:pt x="92706" y="18200"/>
                  </a:lnTo>
                  <a:lnTo>
                    <a:pt x="92821" y="17732"/>
                  </a:lnTo>
                  <a:lnTo>
                    <a:pt x="92879" y="17234"/>
                  </a:lnTo>
                  <a:lnTo>
                    <a:pt x="92908" y="16737"/>
                  </a:lnTo>
                  <a:lnTo>
                    <a:pt x="92937" y="162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Shape 5061"/>
            <p:cNvSpPr/>
            <p:nvPr/>
          </p:nvSpPr>
          <p:spPr>
            <a:xfrm>
              <a:off x="8323614" y="1160042"/>
              <a:ext cx="1914062" cy="142590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82218" y="30618"/>
                  </a:moveTo>
                  <a:lnTo>
                    <a:pt x="80377" y="29487"/>
                  </a:lnTo>
                  <a:lnTo>
                    <a:pt x="77930" y="27934"/>
                  </a:lnTo>
                  <a:lnTo>
                    <a:pt x="74904" y="26027"/>
                  </a:lnTo>
                  <a:lnTo>
                    <a:pt x="71458" y="23872"/>
                  </a:lnTo>
                  <a:lnTo>
                    <a:pt x="67695" y="21436"/>
                  </a:lnTo>
                  <a:lnTo>
                    <a:pt x="63722" y="18893"/>
                  </a:lnTo>
                  <a:lnTo>
                    <a:pt x="59592" y="16244"/>
                  </a:lnTo>
                  <a:lnTo>
                    <a:pt x="55461" y="13560"/>
                  </a:lnTo>
                  <a:lnTo>
                    <a:pt x="51462" y="10947"/>
                  </a:lnTo>
                  <a:lnTo>
                    <a:pt x="47594" y="8475"/>
                  </a:lnTo>
                  <a:lnTo>
                    <a:pt x="44095" y="6180"/>
                  </a:lnTo>
                  <a:lnTo>
                    <a:pt x="40964" y="4131"/>
                  </a:lnTo>
                  <a:lnTo>
                    <a:pt x="38333" y="2436"/>
                  </a:lnTo>
                  <a:lnTo>
                    <a:pt x="36334" y="1130"/>
                  </a:lnTo>
                  <a:lnTo>
                    <a:pt x="35071" y="282"/>
                  </a:lnTo>
                  <a:lnTo>
                    <a:pt x="34597" y="0"/>
                  </a:lnTo>
                  <a:lnTo>
                    <a:pt x="43043" y="75256"/>
                  </a:lnTo>
                  <a:lnTo>
                    <a:pt x="42674" y="75432"/>
                  </a:lnTo>
                  <a:lnTo>
                    <a:pt x="41675" y="75891"/>
                  </a:lnTo>
                  <a:lnTo>
                    <a:pt x="40070" y="76597"/>
                  </a:lnTo>
                  <a:lnTo>
                    <a:pt x="37991" y="77622"/>
                  </a:lnTo>
                  <a:lnTo>
                    <a:pt x="35492" y="78787"/>
                  </a:lnTo>
                  <a:lnTo>
                    <a:pt x="32677" y="80200"/>
                  </a:lnTo>
                  <a:lnTo>
                    <a:pt x="29651" y="81718"/>
                  </a:lnTo>
                  <a:lnTo>
                    <a:pt x="26467" y="83413"/>
                  </a:lnTo>
                  <a:lnTo>
                    <a:pt x="24836" y="84296"/>
                  </a:lnTo>
                  <a:lnTo>
                    <a:pt x="23231" y="85179"/>
                  </a:lnTo>
                  <a:lnTo>
                    <a:pt x="21600" y="86097"/>
                  </a:lnTo>
                  <a:lnTo>
                    <a:pt x="20021" y="87086"/>
                  </a:lnTo>
                  <a:lnTo>
                    <a:pt x="18443" y="88040"/>
                  </a:lnTo>
                  <a:lnTo>
                    <a:pt x="16917" y="88993"/>
                  </a:lnTo>
                  <a:lnTo>
                    <a:pt x="15417" y="89947"/>
                  </a:lnTo>
                  <a:lnTo>
                    <a:pt x="13996" y="90900"/>
                  </a:lnTo>
                  <a:lnTo>
                    <a:pt x="12655" y="91854"/>
                  </a:lnTo>
                  <a:lnTo>
                    <a:pt x="11392" y="92807"/>
                  </a:lnTo>
                  <a:lnTo>
                    <a:pt x="10208" y="93761"/>
                  </a:lnTo>
                  <a:lnTo>
                    <a:pt x="9129" y="94714"/>
                  </a:lnTo>
                  <a:lnTo>
                    <a:pt x="8156" y="95632"/>
                  </a:lnTo>
                  <a:lnTo>
                    <a:pt x="7314" y="96550"/>
                  </a:lnTo>
                  <a:lnTo>
                    <a:pt x="6603" y="97398"/>
                  </a:lnTo>
                  <a:lnTo>
                    <a:pt x="6051" y="98246"/>
                  </a:lnTo>
                  <a:lnTo>
                    <a:pt x="5577" y="99093"/>
                  </a:lnTo>
                  <a:lnTo>
                    <a:pt x="5104" y="99976"/>
                  </a:lnTo>
                  <a:lnTo>
                    <a:pt x="4683" y="100859"/>
                  </a:lnTo>
                  <a:lnTo>
                    <a:pt x="4262" y="101742"/>
                  </a:lnTo>
                  <a:lnTo>
                    <a:pt x="3841" y="102660"/>
                  </a:lnTo>
                  <a:lnTo>
                    <a:pt x="3472" y="103543"/>
                  </a:lnTo>
                  <a:lnTo>
                    <a:pt x="3078" y="104461"/>
                  </a:lnTo>
                  <a:lnTo>
                    <a:pt x="2736" y="105379"/>
                  </a:lnTo>
                  <a:lnTo>
                    <a:pt x="2420" y="106297"/>
                  </a:lnTo>
                  <a:lnTo>
                    <a:pt x="2078" y="107216"/>
                  </a:lnTo>
                  <a:lnTo>
                    <a:pt x="1815" y="108134"/>
                  </a:lnTo>
                  <a:lnTo>
                    <a:pt x="1525" y="109017"/>
                  </a:lnTo>
                  <a:lnTo>
                    <a:pt x="1289" y="109899"/>
                  </a:lnTo>
                  <a:lnTo>
                    <a:pt x="1052" y="110782"/>
                  </a:lnTo>
                  <a:lnTo>
                    <a:pt x="841" y="111595"/>
                  </a:lnTo>
                  <a:lnTo>
                    <a:pt x="657" y="112442"/>
                  </a:lnTo>
                  <a:lnTo>
                    <a:pt x="499" y="113219"/>
                  </a:lnTo>
                  <a:lnTo>
                    <a:pt x="368" y="113996"/>
                  </a:lnTo>
                  <a:lnTo>
                    <a:pt x="236" y="114738"/>
                  </a:lnTo>
                  <a:lnTo>
                    <a:pt x="131" y="115444"/>
                  </a:lnTo>
                  <a:lnTo>
                    <a:pt x="78" y="116115"/>
                  </a:lnTo>
                  <a:lnTo>
                    <a:pt x="26" y="116715"/>
                  </a:lnTo>
                  <a:lnTo>
                    <a:pt x="0" y="117316"/>
                  </a:lnTo>
                  <a:lnTo>
                    <a:pt x="0" y="117845"/>
                  </a:lnTo>
                  <a:lnTo>
                    <a:pt x="26" y="118304"/>
                  </a:lnTo>
                  <a:lnTo>
                    <a:pt x="78" y="118763"/>
                  </a:lnTo>
                  <a:lnTo>
                    <a:pt x="157" y="119117"/>
                  </a:lnTo>
                  <a:lnTo>
                    <a:pt x="263" y="119399"/>
                  </a:lnTo>
                  <a:lnTo>
                    <a:pt x="394" y="119682"/>
                  </a:lnTo>
                  <a:lnTo>
                    <a:pt x="552" y="119858"/>
                  </a:lnTo>
                  <a:lnTo>
                    <a:pt x="736" y="119964"/>
                  </a:lnTo>
                  <a:lnTo>
                    <a:pt x="947" y="120000"/>
                  </a:lnTo>
                  <a:lnTo>
                    <a:pt x="1289" y="119964"/>
                  </a:lnTo>
                  <a:lnTo>
                    <a:pt x="1841" y="119858"/>
                  </a:lnTo>
                  <a:lnTo>
                    <a:pt x="2578" y="119717"/>
                  </a:lnTo>
                  <a:lnTo>
                    <a:pt x="3551" y="119434"/>
                  </a:lnTo>
                  <a:lnTo>
                    <a:pt x="5972" y="118834"/>
                  </a:lnTo>
                  <a:lnTo>
                    <a:pt x="8998" y="117987"/>
                  </a:lnTo>
                  <a:lnTo>
                    <a:pt x="12523" y="116998"/>
                  </a:lnTo>
                  <a:lnTo>
                    <a:pt x="16496" y="115868"/>
                  </a:lnTo>
                  <a:lnTo>
                    <a:pt x="20758" y="114667"/>
                  </a:lnTo>
                  <a:lnTo>
                    <a:pt x="25257" y="113396"/>
                  </a:lnTo>
                  <a:lnTo>
                    <a:pt x="29888" y="112160"/>
                  </a:lnTo>
                  <a:lnTo>
                    <a:pt x="34492" y="110888"/>
                  </a:lnTo>
                  <a:lnTo>
                    <a:pt x="39070" y="109723"/>
                  </a:lnTo>
                  <a:lnTo>
                    <a:pt x="43437" y="108663"/>
                  </a:lnTo>
                  <a:lnTo>
                    <a:pt x="45490" y="108169"/>
                  </a:lnTo>
                  <a:lnTo>
                    <a:pt x="47489" y="107710"/>
                  </a:lnTo>
                  <a:lnTo>
                    <a:pt x="49410" y="107286"/>
                  </a:lnTo>
                  <a:lnTo>
                    <a:pt x="51225" y="106933"/>
                  </a:lnTo>
                  <a:lnTo>
                    <a:pt x="52909" y="106615"/>
                  </a:lnTo>
                  <a:lnTo>
                    <a:pt x="54461" y="106368"/>
                  </a:lnTo>
                  <a:lnTo>
                    <a:pt x="55882" y="106191"/>
                  </a:lnTo>
                  <a:lnTo>
                    <a:pt x="57119" y="106050"/>
                  </a:lnTo>
                  <a:lnTo>
                    <a:pt x="58618" y="105944"/>
                  </a:lnTo>
                  <a:lnTo>
                    <a:pt x="60486" y="105732"/>
                  </a:lnTo>
                  <a:lnTo>
                    <a:pt x="62670" y="105556"/>
                  </a:lnTo>
                  <a:lnTo>
                    <a:pt x="65064" y="105344"/>
                  </a:lnTo>
                  <a:lnTo>
                    <a:pt x="67643" y="105132"/>
                  </a:lnTo>
                  <a:lnTo>
                    <a:pt x="70300" y="104885"/>
                  </a:lnTo>
                  <a:lnTo>
                    <a:pt x="73036" y="104638"/>
                  </a:lnTo>
                  <a:lnTo>
                    <a:pt x="75720" y="104426"/>
                  </a:lnTo>
                  <a:lnTo>
                    <a:pt x="78377" y="104178"/>
                  </a:lnTo>
                  <a:lnTo>
                    <a:pt x="80850" y="103931"/>
                  </a:lnTo>
                  <a:lnTo>
                    <a:pt x="83087" y="103755"/>
                  </a:lnTo>
                  <a:lnTo>
                    <a:pt x="85112" y="103578"/>
                  </a:lnTo>
                  <a:lnTo>
                    <a:pt x="86744" y="103437"/>
                  </a:lnTo>
                  <a:lnTo>
                    <a:pt x="88007" y="103331"/>
                  </a:lnTo>
                  <a:lnTo>
                    <a:pt x="88848" y="103260"/>
                  </a:lnTo>
                  <a:lnTo>
                    <a:pt x="89112" y="103190"/>
                  </a:lnTo>
                  <a:lnTo>
                    <a:pt x="107160" y="110994"/>
                  </a:lnTo>
                  <a:lnTo>
                    <a:pt x="120000" y="57280"/>
                  </a:lnTo>
                  <a:lnTo>
                    <a:pt x="103924" y="50394"/>
                  </a:lnTo>
                  <a:lnTo>
                    <a:pt x="103766" y="50253"/>
                  </a:lnTo>
                  <a:lnTo>
                    <a:pt x="103266" y="49723"/>
                  </a:lnTo>
                  <a:lnTo>
                    <a:pt x="102503" y="48911"/>
                  </a:lnTo>
                  <a:lnTo>
                    <a:pt x="101477" y="47851"/>
                  </a:lnTo>
                  <a:lnTo>
                    <a:pt x="100214" y="46580"/>
                  </a:lnTo>
                  <a:lnTo>
                    <a:pt x="98794" y="45167"/>
                  </a:lnTo>
                  <a:lnTo>
                    <a:pt x="97215" y="43613"/>
                  </a:lnTo>
                  <a:lnTo>
                    <a:pt x="95557" y="41954"/>
                  </a:lnTo>
                  <a:lnTo>
                    <a:pt x="93795" y="40258"/>
                  </a:lnTo>
                  <a:lnTo>
                    <a:pt x="91979" y="38563"/>
                  </a:lnTo>
                  <a:lnTo>
                    <a:pt x="90164" y="36904"/>
                  </a:lnTo>
                  <a:lnTo>
                    <a:pt x="88401" y="35314"/>
                  </a:lnTo>
                  <a:lnTo>
                    <a:pt x="86665" y="33866"/>
                  </a:lnTo>
                  <a:lnTo>
                    <a:pt x="85033" y="32560"/>
                  </a:lnTo>
                  <a:lnTo>
                    <a:pt x="84270" y="31959"/>
                  </a:lnTo>
                  <a:lnTo>
                    <a:pt x="83534" y="31465"/>
                  </a:lnTo>
                  <a:lnTo>
                    <a:pt x="82850" y="30971"/>
                  </a:lnTo>
                  <a:lnTo>
                    <a:pt x="82218" y="30618"/>
                  </a:lnTo>
                  <a:close/>
                </a:path>
              </a:pathLst>
            </a:custGeom>
            <a:solidFill>
              <a:srgbClr val="FBC69A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" name="Shape 5062"/>
            <p:cNvSpPr/>
            <p:nvPr/>
          </p:nvSpPr>
          <p:spPr>
            <a:xfrm>
              <a:off x="9850167" y="1695174"/>
              <a:ext cx="538487" cy="97800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11149"/>
                  </a:moveTo>
                  <a:lnTo>
                    <a:pt x="51828" y="120000"/>
                  </a:lnTo>
                  <a:lnTo>
                    <a:pt x="120000" y="8953"/>
                  </a:lnTo>
                  <a:lnTo>
                    <a:pt x="68171" y="0"/>
                  </a:lnTo>
                  <a:lnTo>
                    <a:pt x="0" y="111149"/>
                  </a:ln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Shape 5063"/>
            <p:cNvSpPr/>
            <p:nvPr/>
          </p:nvSpPr>
          <p:spPr>
            <a:xfrm>
              <a:off x="10002823" y="1696852"/>
              <a:ext cx="385832" cy="521713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03434"/>
                  </a:moveTo>
                  <a:lnTo>
                    <a:pt x="72470" y="120000"/>
                  </a:lnTo>
                  <a:lnTo>
                    <a:pt x="120000" y="16661"/>
                  </a:lnTo>
                  <a:lnTo>
                    <a:pt x="47529" y="0"/>
                  </a:lnTo>
                  <a:lnTo>
                    <a:pt x="0" y="103434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2" name="Shape 5064"/>
            <p:cNvSpPr/>
            <p:nvPr/>
          </p:nvSpPr>
          <p:spPr>
            <a:xfrm>
              <a:off x="10024630" y="1708594"/>
              <a:ext cx="2167370" cy="168424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8490" y="0"/>
                  </a:moveTo>
                  <a:lnTo>
                    <a:pt x="0" y="70433"/>
                  </a:lnTo>
                  <a:lnTo>
                    <a:pt x="120000" y="120000"/>
                  </a:lnTo>
                  <a:lnTo>
                    <a:pt x="120000" y="41913"/>
                  </a:lnTo>
                  <a:lnTo>
                    <a:pt x="18490" y="0"/>
                  </a:lnTo>
                  <a:close/>
                </a:path>
              </a:pathLst>
            </a:custGeom>
            <a:solidFill>
              <a:srgbClr val="221F1F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4" name="Shape 5065"/>
            <p:cNvSpPr/>
            <p:nvPr/>
          </p:nvSpPr>
          <p:spPr>
            <a:xfrm>
              <a:off x="10207482" y="2575878"/>
              <a:ext cx="95619" cy="93942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0526" y="8458"/>
                  </a:moveTo>
                  <a:lnTo>
                    <a:pt x="85263" y="5814"/>
                  </a:lnTo>
                  <a:lnTo>
                    <a:pt x="79473" y="3171"/>
                  </a:lnTo>
                  <a:lnTo>
                    <a:pt x="73684" y="1585"/>
                  </a:lnTo>
                  <a:lnTo>
                    <a:pt x="67894" y="528"/>
                  </a:lnTo>
                  <a:lnTo>
                    <a:pt x="62105" y="0"/>
                  </a:lnTo>
                  <a:lnTo>
                    <a:pt x="56315" y="0"/>
                  </a:lnTo>
                  <a:lnTo>
                    <a:pt x="50526" y="528"/>
                  </a:lnTo>
                  <a:lnTo>
                    <a:pt x="45263" y="1585"/>
                  </a:lnTo>
                  <a:lnTo>
                    <a:pt x="40000" y="3700"/>
                  </a:lnTo>
                  <a:lnTo>
                    <a:pt x="34210" y="6343"/>
                  </a:lnTo>
                  <a:lnTo>
                    <a:pt x="29473" y="8986"/>
                  </a:lnTo>
                  <a:lnTo>
                    <a:pt x="24210" y="11629"/>
                  </a:lnTo>
                  <a:lnTo>
                    <a:pt x="20000" y="15330"/>
                  </a:lnTo>
                  <a:lnTo>
                    <a:pt x="15789" y="20088"/>
                  </a:lnTo>
                  <a:lnTo>
                    <a:pt x="11578" y="24317"/>
                  </a:lnTo>
                  <a:lnTo>
                    <a:pt x="8421" y="29603"/>
                  </a:lnTo>
                  <a:lnTo>
                    <a:pt x="5789" y="35418"/>
                  </a:lnTo>
                  <a:lnTo>
                    <a:pt x="3684" y="40704"/>
                  </a:lnTo>
                  <a:lnTo>
                    <a:pt x="2105" y="46519"/>
                  </a:lnTo>
                  <a:lnTo>
                    <a:pt x="526" y="52334"/>
                  </a:lnTo>
                  <a:lnTo>
                    <a:pt x="0" y="58149"/>
                  </a:lnTo>
                  <a:lnTo>
                    <a:pt x="0" y="63964"/>
                  </a:lnTo>
                  <a:lnTo>
                    <a:pt x="526" y="69779"/>
                  </a:lnTo>
                  <a:lnTo>
                    <a:pt x="2105" y="75066"/>
                  </a:lnTo>
                  <a:lnTo>
                    <a:pt x="3684" y="80352"/>
                  </a:lnTo>
                  <a:lnTo>
                    <a:pt x="6315" y="86167"/>
                  </a:lnTo>
                  <a:lnTo>
                    <a:pt x="8421" y="90925"/>
                  </a:lnTo>
                  <a:lnTo>
                    <a:pt x="11578" y="96211"/>
                  </a:lnTo>
                  <a:lnTo>
                    <a:pt x="15789" y="100440"/>
                  </a:lnTo>
                  <a:lnTo>
                    <a:pt x="20000" y="104669"/>
                  </a:lnTo>
                  <a:lnTo>
                    <a:pt x="24210" y="108898"/>
                  </a:lnTo>
                  <a:lnTo>
                    <a:pt x="29999" y="112070"/>
                  </a:lnTo>
                  <a:lnTo>
                    <a:pt x="34736" y="114713"/>
                  </a:lnTo>
                  <a:lnTo>
                    <a:pt x="41052" y="116828"/>
                  </a:lnTo>
                  <a:lnTo>
                    <a:pt x="46315" y="118414"/>
                  </a:lnTo>
                  <a:lnTo>
                    <a:pt x="52105" y="119471"/>
                  </a:lnTo>
                  <a:lnTo>
                    <a:pt x="57894" y="120000"/>
                  </a:lnTo>
                  <a:lnTo>
                    <a:pt x="64210" y="120000"/>
                  </a:lnTo>
                  <a:lnTo>
                    <a:pt x="69473" y="119471"/>
                  </a:lnTo>
                  <a:lnTo>
                    <a:pt x="74736" y="118414"/>
                  </a:lnTo>
                  <a:lnTo>
                    <a:pt x="80526" y="116828"/>
                  </a:lnTo>
                  <a:lnTo>
                    <a:pt x="85789" y="114185"/>
                  </a:lnTo>
                  <a:lnTo>
                    <a:pt x="91052" y="112070"/>
                  </a:lnTo>
                  <a:lnTo>
                    <a:pt x="95789" y="108898"/>
                  </a:lnTo>
                  <a:lnTo>
                    <a:pt x="100526" y="104669"/>
                  </a:lnTo>
                  <a:lnTo>
                    <a:pt x="104736" y="100440"/>
                  </a:lnTo>
                  <a:lnTo>
                    <a:pt x="108421" y="96211"/>
                  </a:lnTo>
                  <a:lnTo>
                    <a:pt x="111578" y="90925"/>
                  </a:lnTo>
                  <a:lnTo>
                    <a:pt x="114736" y="85638"/>
                  </a:lnTo>
                  <a:lnTo>
                    <a:pt x="116842" y="79295"/>
                  </a:lnTo>
                  <a:lnTo>
                    <a:pt x="118421" y="74008"/>
                  </a:lnTo>
                  <a:lnTo>
                    <a:pt x="119473" y="68193"/>
                  </a:lnTo>
                  <a:lnTo>
                    <a:pt x="119999" y="62378"/>
                  </a:lnTo>
                  <a:lnTo>
                    <a:pt x="119999" y="57092"/>
                  </a:lnTo>
                  <a:lnTo>
                    <a:pt x="119473" y="50748"/>
                  </a:lnTo>
                  <a:lnTo>
                    <a:pt x="118421" y="45462"/>
                  </a:lnTo>
                  <a:lnTo>
                    <a:pt x="116315" y="39647"/>
                  </a:lnTo>
                  <a:lnTo>
                    <a:pt x="114210" y="34361"/>
                  </a:lnTo>
                  <a:lnTo>
                    <a:pt x="111052" y="29074"/>
                  </a:lnTo>
                  <a:lnTo>
                    <a:pt x="108421" y="24317"/>
                  </a:lnTo>
                  <a:lnTo>
                    <a:pt x="104736" y="20088"/>
                  </a:lnTo>
                  <a:lnTo>
                    <a:pt x="100526" y="15330"/>
                  </a:lnTo>
                  <a:lnTo>
                    <a:pt x="95789" y="11629"/>
                  </a:lnTo>
                  <a:lnTo>
                    <a:pt x="90526" y="8458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5" name="Shape 5066"/>
            <p:cNvSpPr/>
            <p:nvPr/>
          </p:nvSpPr>
          <p:spPr>
            <a:xfrm>
              <a:off x="10363492" y="2622849"/>
              <a:ext cx="95619" cy="9562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1052" y="8458"/>
                  </a:moveTo>
                  <a:lnTo>
                    <a:pt x="85263" y="5286"/>
                  </a:lnTo>
                  <a:lnTo>
                    <a:pt x="80000" y="3171"/>
                  </a:lnTo>
                  <a:lnTo>
                    <a:pt x="73684" y="1585"/>
                  </a:lnTo>
                  <a:lnTo>
                    <a:pt x="68421" y="528"/>
                  </a:lnTo>
                  <a:lnTo>
                    <a:pt x="62105" y="0"/>
                  </a:lnTo>
                  <a:lnTo>
                    <a:pt x="56842" y="0"/>
                  </a:lnTo>
                  <a:lnTo>
                    <a:pt x="50526" y="528"/>
                  </a:lnTo>
                  <a:lnTo>
                    <a:pt x="45263" y="1585"/>
                  </a:lnTo>
                  <a:lnTo>
                    <a:pt x="40000" y="3700"/>
                  </a:lnTo>
                  <a:lnTo>
                    <a:pt x="34736" y="5814"/>
                  </a:lnTo>
                  <a:lnTo>
                    <a:pt x="29473" y="8986"/>
                  </a:lnTo>
                  <a:lnTo>
                    <a:pt x="24736" y="11629"/>
                  </a:lnTo>
                  <a:lnTo>
                    <a:pt x="20000" y="15330"/>
                  </a:lnTo>
                  <a:lnTo>
                    <a:pt x="16315" y="19559"/>
                  </a:lnTo>
                  <a:lnTo>
                    <a:pt x="12105" y="24317"/>
                  </a:lnTo>
                  <a:lnTo>
                    <a:pt x="8947" y="29603"/>
                  </a:lnTo>
                  <a:lnTo>
                    <a:pt x="5789" y="35418"/>
                  </a:lnTo>
                  <a:lnTo>
                    <a:pt x="3684" y="40704"/>
                  </a:lnTo>
                  <a:lnTo>
                    <a:pt x="1578" y="45991"/>
                  </a:lnTo>
                  <a:lnTo>
                    <a:pt x="526" y="52334"/>
                  </a:lnTo>
                  <a:lnTo>
                    <a:pt x="0" y="57621"/>
                  </a:lnTo>
                  <a:lnTo>
                    <a:pt x="526" y="63964"/>
                  </a:lnTo>
                  <a:lnTo>
                    <a:pt x="1052" y="69251"/>
                  </a:lnTo>
                  <a:lnTo>
                    <a:pt x="2105" y="75066"/>
                  </a:lnTo>
                  <a:lnTo>
                    <a:pt x="4210" y="80352"/>
                  </a:lnTo>
                  <a:lnTo>
                    <a:pt x="6315" y="86167"/>
                  </a:lnTo>
                  <a:lnTo>
                    <a:pt x="8947" y="90925"/>
                  </a:lnTo>
                  <a:lnTo>
                    <a:pt x="12105" y="95682"/>
                  </a:lnTo>
                  <a:lnTo>
                    <a:pt x="16315" y="100440"/>
                  </a:lnTo>
                  <a:lnTo>
                    <a:pt x="20000" y="104669"/>
                  </a:lnTo>
                  <a:lnTo>
                    <a:pt x="24736" y="108370"/>
                  </a:lnTo>
                  <a:lnTo>
                    <a:pt x="29999" y="112070"/>
                  </a:lnTo>
                  <a:lnTo>
                    <a:pt x="35263" y="114713"/>
                  </a:lnTo>
                  <a:lnTo>
                    <a:pt x="41052" y="116828"/>
                  </a:lnTo>
                  <a:lnTo>
                    <a:pt x="46315" y="118414"/>
                  </a:lnTo>
                  <a:lnTo>
                    <a:pt x="52631" y="119471"/>
                  </a:lnTo>
                  <a:lnTo>
                    <a:pt x="57894" y="120000"/>
                  </a:lnTo>
                  <a:lnTo>
                    <a:pt x="63684" y="120000"/>
                  </a:lnTo>
                  <a:lnTo>
                    <a:pt x="69473" y="119471"/>
                  </a:lnTo>
                  <a:lnTo>
                    <a:pt x="75263" y="118414"/>
                  </a:lnTo>
                  <a:lnTo>
                    <a:pt x="81052" y="116299"/>
                  </a:lnTo>
                  <a:lnTo>
                    <a:pt x="85789" y="114185"/>
                  </a:lnTo>
                  <a:lnTo>
                    <a:pt x="91052" y="111541"/>
                  </a:lnTo>
                  <a:lnTo>
                    <a:pt x="95789" y="108370"/>
                  </a:lnTo>
                  <a:lnTo>
                    <a:pt x="100526" y="104669"/>
                  </a:lnTo>
                  <a:lnTo>
                    <a:pt x="104736" y="100440"/>
                  </a:lnTo>
                  <a:lnTo>
                    <a:pt x="108421" y="95682"/>
                  </a:lnTo>
                  <a:lnTo>
                    <a:pt x="111578" y="90396"/>
                  </a:lnTo>
                  <a:lnTo>
                    <a:pt x="114736" y="85638"/>
                  </a:lnTo>
                  <a:lnTo>
                    <a:pt x="116842" y="79295"/>
                  </a:lnTo>
                  <a:lnTo>
                    <a:pt x="118421" y="74008"/>
                  </a:lnTo>
                  <a:lnTo>
                    <a:pt x="119473" y="68193"/>
                  </a:lnTo>
                  <a:lnTo>
                    <a:pt x="119999" y="62378"/>
                  </a:lnTo>
                  <a:lnTo>
                    <a:pt x="119999" y="56563"/>
                  </a:lnTo>
                  <a:lnTo>
                    <a:pt x="119473" y="50748"/>
                  </a:lnTo>
                  <a:lnTo>
                    <a:pt x="118421" y="44933"/>
                  </a:lnTo>
                  <a:lnTo>
                    <a:pt x="116842" y="39647"/>
                  </a:lnTo>
                  <a:lnTo>
                    <a:pt x="114736" y="34361"/>
                  </a:lnTo>
                  <a:lnTo>
                    <a:pt x="111578" y="29074"/>
                  </a:lnTo>
                  <a:lnTo>
                    <a:pt x="108421" y="24317"/>
                  </a:lnTo>
                  <a:lnTo>
                    <a:pt x="104736" y="19559"/>
                  </a:lnTo>
                  <a:lnTo>
                    <a:pt x="99999" y="15330"/>
                  </a:lnTo>
                  <a:lnTo>
                    <a:pt x="95789" y="11629"/>
                  </a:lnTo>
                  <a:lnTo>
                    <a:pt x="91052" y="8458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" name="Shape 5067"/>
            <p:cNvSpPr/>
            <p:nvPr/>
          </p:nvSpPr>
          <p:spPr>
            <a:xfrm>
              <a:off x="10521179" y="2671497"/>
              <a:ext cx="95619" cy="9562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90526" y="7929"/>
                  </a:moveTo>
                  <a:lnTo>
                    <a:pt x="84736" y="5286"/>
                  </a:lnTo>
                  <a:lnTo>
                    <a:pt x="79473" y="3171"/>
                  </a:lnTo>
                  <a:lnTo>
                    <a:pt x="73684" y="1585"/>
                  </a:lnTo>
                  <a:lnTo>
                    <a:pt x="67894" y="528"/>
                  </a:lnTo>
                  <a:lnTo>
                    <a:pt x="62105" y="0"/>
                  </a:lnTo>
                  <a:lnTo>
                    <a:pt x="56315" y="0"/>
                  </a:lnTo>
                  <a:lnTo>
                    <a:pt x="50526" y="528"/>
                  </a:lnTo>
                  <a:lnTo>
                    <a:pt x="45263" y="1585"/>
                  </a:lnTo>
                  <a:lnTo>
                    <a:pt x="40000" y="3171"/>
                  </a:lnTo>
                  <a:lnTo>
                    <a:pt x="34210" y="5814"/>
                  </a:lnTo>
                  <a:lnTo>
                    <a:pt x="29473" y="8458"/>
                  </a:lnTo>
                  <a:lnTo>
                    <a:pt x="24210" y="11629"/>
                  </a:lnTo>
                  <a:lnTo>
                    <a:pt x="20000" y="15330"/>
                  </a:lnTo>
                  <a:lnTo>
                    <a:pt x="15789" y="19559"/>
                  </a:lnTo>
                  <a:lnTo>
                    <a:pt x="11578" y="24317"/>
                  </a:lnTo>
                  <a:lnTo>
                    <a:pt x="8421" y="29603"/>
                  </a:lnTo>
                  <a:lnTo>
                    <a:pt x="5789" y="34361"/>
                  </a:lnTo>
                  <a:lnTo>
                    <a:pt x="3684" y="40704"/>
                  </a:lnTo>
                  <a:lnTo>
                    <a:pt x="1578" y="45991"/>
                  </a:lnTo>
                  <a:lnTo>
                    <a:pt x="526" y="51806"/>
                  </a:lnTo>
                  <a:lnTo>
                    <a:pt x="0" y="57621"/>
                  </a:lnTo>
                  <a:lnTo>
                    <a:pt x="0" y="63436"/>
                  </a:lnTo>
                  <a:lnTo>
                    <a:pt x="526" y="69251"/>
                  </a:lnTo>
                  <a:lnTo>
                    <a:pt x="1578" y="75066"/>
                  </a:lnTo>
                  <a:lnTo>
                    <a:pt x="3684" y="80352"/>
                  </a:lnTo>
                  <a:lnTo>
                    <a:pt x="5789" y="85638"/>
                  </a:lnTo>
                  <a:lnTo>
                    <a:pt x="8421" y="90925"/>
                  </a:lnTo>
                  <a:lnTo>
                    <a:pt x="11578" y="95682"/>
                  </a:lnTo>
                  <a:lnTo>
                    <a:pt x="15789" y="99911"/>
                  </a:lnTo>
                  <a:lnTo>
                    <a:pt x="20000" y="104669"/>
                  </a:lnTo>
                  <a:lnTo>
                    <a:pt x="24210" y="108370"/>
                  </a:lnTo>
                  <a:lnTo>
                    <a:pt x="29473" y="111541"/>
                  </a:lnTo>
                  <a:lnTo>
                    <a:pt x="34736" y="114713"/>
                  </a:lnTo>
                  <a:lnTo>
                    <a:pt x="40526" y="116828"/>
                  </a:lnTo>
                  <a:lnTo>
                    <a:pt x="46315" y="118414"/>
                  </a:lnTo>
                  <a:lnTo>
                    <a:pt x="51578" y="119471"/>
                  </a:lnTo>
                  <a:lnTo>
                    <a:pt x="57894" y="120000"/>
                  </a:lnTo>
                  <a:lnTo>
                    <a:pt x="63157" y="120000"/>
                  </a:lnTo>
                  <a:lnTo>
                    <a:pt x="69473" y="119471"/>
                  </a:lnTo>
                  <a:lnTo>
                    <a:pt x="74736" y="117885"/>
                  </a:lnTo>
                  <a:lnTo>
                    <a:pt x="80526" y="116299"/>
                  </a:lnTo>
                  <a:lnTo>
                    <a:pt x="85789" y="114185"/>
                  </a:lnTo>
                  <a:lnTo>
                    <a:pt x="91052" y="111013"/>
                  </a:lnTo>
                  <a:lnTo>
                    <a:pt x="95789" y="107841"/>
                  </a:lnTo>
                  <a:lnTo>
                    <a:pt x="99999" y="104669"/>
                  </a:lnTo>
                  <a:lnTo>
                    <a:pt x="104736" y="99911"/>
                  </a:lnTo>
                  <a:lnTo>
                    <a:pt x="108421" y="95682"/>
                  </a:lnTo>
                  <a:lnTo>
                    <a:pt x="111578" y="90396"/>
                  </a:lnTo>
                  <a:lnTo>
                    <a:pt x="114736" y="84581"/>
                  </a:lnTo>
                  <a:lnTo>
                    <a:pt x="116842" y="79295"/>
                  </a:lnTo>
                  <a:lnTo>
                    <a:pt x="118421" y="73480"/>
                  </a:lnTo>
                  <a:lnTo>
                    <a:pt x="119473" y="67665"/>
                  </a:lnTo>
                  <a:lnTo>
                    <a:pt x="119999" y="62378"/>
                  </a:lnTo>
                  <a:lnTo>
                    <a:pt x="119999" y="56035"/>
                  </a:lnTo>
                  <a:lnTo>
                    <a:pt x="118947" y="50748"/>
                  </a:lnTo>
                  <a:lnTo>
                    <a:pt x="117894" y="44933"/>
                  </a:lnTo>
                  <a:lnTo>
                    <a:pt x="116315" y="39647"/>
                  </a:lnTo>
                  <a:lnTo>
                    <a:pt x="114210" y="33832"/>
                  </a:lnTo>
                  <a:lnTo>
                    <a:pt x="111052" y="29074"/>
                  </a:lnTo>
                  <a:lnTo>
                    <a:pt x="107894" y="24317"/>
                  </a:lnTo>
                  <a:lnTo>
                    <a:pt x="104736" y="19559"/>
                  </a:lnTo>
                  <a:lnTo>
                    <a:pt x="99999" y="15330"/>
                  </a:lnTo>
                  <a:lnTo>
                    <a:pt x="95789" y="11629"/>
                  </a:lnTo>
                  <a:lnTo>
                    <a:pt x="90526" y="7929"/>
                  </a:lnTo>
                  <a:close/>
                </a:path>
              </a:pathLst>
            </a:custGeom>
            <a:solidFill>
              <a:srgbClr val="F0F1F1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7" name="Shape 5068"/>
            <p:cNvSpPr/>
            <p:nvPr/>
          </p:nvSpPr>
          <p:spPr>
            <a:xfrm>
              <a:off x="10192383" y="1708594"/>
              <a:ext cx="1999617" cy="11356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016" y="0"/>
                  </a:moveTo>
                  <a:lnTo>
                    <a:pt x="0" y="52245"/>
                  </a:lnTo>
                  <a:lnTo>
                    <a:pt x="120000" y="120000"/>
                  </a:lnTo>
                  <a:lnTo>
                    <a:pt x="120000" y="62127"/>
                  </a:lnTo>
                  <a:lnTo>
                    <a:pt x="10016" y="0"/>
                  </a:lnTo>
                  <a:close/>
                </a:path>
              </a:pathLst>
            </a:custGeom>
            <a:solidFill>
              <a:srgbClr val="403F41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" name="Shape 5069"/>
            <p:cNvSpPr/>
            <p:nvPr/>
          </p:nvSpPr>
          <p:spPr>
            <a:xfrm rot="-7597954">
              <a:off x="8819771" y="4292600"/>
              <a:ext cx="1784893" cy="17949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5260" y="49423"/>
                  </a:moveTo>
                  <a:lnTo>
                    <a:pt x="114301" y="50039"/>
                  </a:lnTo>
                  <a:lnTo>
                    <a:pt x="113399" y="50656"/>
                  </a:lnTo>
                  <a:lnTo>
                    <a:pt x="112552" y="51300"/>
                  </a:lnTo>
                  <a:lnTo>
                    <a:pt x="111763" y="51916"/>
                  </a:lnTo>
                  <a:lnTo>
                    <a:pt x="110211" y="53177"/>
                  </a:lnTo>
                  <a:lnTo>
                    <a:pt x="108716" y="54354"/>
                  </a:lnTo>
                  <a:lnTo>
                    <a:pt x="107926" y="54942"/>
                  </a:lnTo>
                  <a:lnTo>
                    <a:pt x="107108" y="55531"/>
                  </a:lnTo>
                  <a:lnTo>
                    <a:pt x="106205" y="56119"/>
                  </a:lnTo>
                  <a:lnTo>
                    <a:pt x="105303" y="56651"/>
                  </a:lnTo>
                  <a:lnTo>
                    <a:pt x="104259" y="57184"/>
                  </a:lnTo>
                  <a:lnTo>
                    <a:pt x="103159" y="57688"/>
                  </a:lnTo>
                  <a:lnTo>
                    <a:pt x="102566" y="57940"/>
                  </a:lnTo>
                  <a:lnTo>
                    <a:pt x="101946" y="58192"/>
                  </a:lnTo>
                  <a:lnTo>
                    <a:pt x="101297" y="58416"/>
                  </a:lnTo>
                  <a:lnTo>
                    <a:pt x="100620" y="58641"/>
                  </a:lnTo>
                  <a:lnTo>
                    <a:pt x="99830" y="58753"/>
                  </a:lnTo>
                  <a:lnTo>
                    <a:pt x="99040" y="58781"/>
                  </a:lnTo>
                  <a:lnTo>
                    <a:pt x="98251" y="58809"/>
                  </a:lnTo>
                  <a:lnTo>
                    <a:pt x="97489" y="58781"/>
                  </a:lnTo>
                  <a:lnTo>
                    <a:pt x="96727" y="58697"/>
                  </a:lnTo>
                  <a:lnTo>
                    <a:pt x="95994" y="58613"/>
                  </a:lnTo>
                  <a:lnTo>
                    <a:pt x="95232" y="58473"/>
                  </a:lnTo>
                  <a:lnTo>
                    <a:pt x="94527" y="58276"/>
                  </a:lnTo>
                  <a:lnTo>
                    <a:pt x="93765" y="58080"/>
                  </a:lnTo>
                  <a:lnTo>
                    <a:pt x="93060" y="57856"/>
                  </a:lnTo>
                  <a:lnTo>
                    <a:pt x="92383" y="57548"/>
                  </a:lnTo>
                  <a:lnTo>
                    <a:pt x="91706" y="57268"/>
                  </a:lnTo>
                  <a:lnTo>
                    <a:pt x="91029" y="56904"/>
                  </a:lnTo>
                  <a:lnTo>
                    <a:pt x="90409" y="56567"/>
                  </a:lnTo>
                  <a:lnTo>
                    <a:pt x="89788" y="56147"/>
                  </a:lnTo>
                  <a:lnTo>
                    <a:pt x="89167" y="55699"/>
                  </a:lnTo>
                  <a:lnTo>
                    <a:pt x="88631" y="55279"/>
                  </a:lnTo>
                  <a:lnTo>
                    <a:pt x="88067" y="54774"/>
                  </a:lnTo>
                  <a:lnTo>
                    <a:pt x="87531" y="54270"/>
                  </a:lnTo>
                  <a:lnTo>
                    <a:pt x="86995" y="53766"/>
                  </a:lnTo>
                  <a:lnTo>
                    <a:pt x="86516" y="53205"/>
                  </a:lnTo>
                  <a:lnTo>
                    <a:pt x="86064" y="52617"/>
                  </a:lnTo>
                  <a:lnTo>
                    <a:pt x="85641" y="52000"/>
                  </a:lnTo>
                  <a:lnTo>
                    <a:pt x="85218" y="51384"/>
                  </a:lnTo>
                  <a:lnTo>
                    <a:pt x="84851" y="50712"/>
                  </a:lnTo>
                  <a:lnTo>
                    <a:pt x="84513" y="50039"/>
                  </a:lnTo>
                  <a:lnTo>
                    <a:pt x="84203" y="49367"/>
                  </a:lnTo>
                  <a:lnTo>
                    <a:pt x="83921" y="48666"/>
                  </a:lnTo>
                  <a:lnTo>
                    <a:pt x="83695" y="47938"/>
                  </a:lnTo>
                  <a:lnTo>
                    <a:pt x="83497" y="47181"/>
                  </a:lnTo>
                  <a:lnTo>
                    <a:pt x="83328" y="46425"/>
                  </a:lnTo>
                  <a:lnTo>
                    <a:pt x="83187" y="45668"/>
                  </a:lnTo>
                  <a:lnTo>
                    <a:pt x="83102" y="44912"/>
                  </a:lnTo>
                  <a:lnTo>
                    <a:pt x="83046" y="44127"/>
                  </a:lnTo>
                  <a:lnTo>
                    <a:pt x="83046" y="43371"/>
                  </a:lnTo>
                  <a:lnTo>
                    <a:pt x="83046" y="42614"/>
                  </a:lnTo>
                  <a:lnTo>
                    <a:pt x="83131" y="41886"/>
                  </a:lnTo>
                  <a:lnTo>
                    <a:pt x="83215" y="41158"/>
                  </a:lnTo>
                  <a:lnTo>
                    <a:pt x="83356" y="40429"/>
                  </a:lnTo>
                  <a:lnTo>
                    <a:pt x="83526" y="39729"/>
                  </a:lnTo>
                  <a:lnTo>
                    <a:pt x="83723" y="39028"/>
                  </a:lnTo>
                  <a:lnTo>
                    <a:pt x="83921" y="38356"/>
                  </a:lnTo>
                  <a:lnTo>
                    <a:pt x="84203" y="37683"/>
                  </a:lnTo>
                  <a:lnTo>
                    <a:pt x="84485" y="37011"/>
                  </a:lnTo>
                  <a:lnTo>
                    <a:pt x="84823" y="36367"/>
                  </a:lnTo>
                  <a:lnTo>
                    <a:pt x="85162" y="35750"/>
                  </a:lnTo>
                  <a:lnTo>
                    <a:pt x="85557" y="35134"/>
                  </a:lnTo>
                  <a:lnTo>
                    <a:pt x="85980" y="34545"/>
                  </a:lnTo>
                  <a:lnTo>
                    <a:pt x="86403" y="33957"/>
                  </a:lnTo>
                  <a:lnTo>
                    <a:pt x="86882" y="33453"/>
                  </a:lnTo>
                  <a:lnTo>
                    <a:pt x="87390" y="32892"/>
                  </a:lnTo>
                  <a:lnTo>
                    <a:pt x="87870" y="32388"/>
                  </a:lnTo>
                  <a:lnTo>
                    <a:pt x="88406" y="31912"/>
                  </a:lnTo>
                  <a:lnTo>
                    <a:pt x="88970" y="31463"/>
                  </a:lnTo>
                  <a:lnTo>
                    <a:pt x="89562" y="31015"/>
                  </a:lnTo>
                  <a:lnTo>
                    <a:pt x="90183" y="30651"/>
                  </a:lnTo>
                  <a:lnTo>
                    <a:pt x="90803" y="30259"/>
                  </a:lnTo>
                  <a:lnTo>
                    <a:pt x="91452" y="29894"/>
                  </a:lnTo>
                  <a:lnTo>
                    <a:pt x="92129" y="29586"/>
                  </a:lnTo>
                  <a:lnTo>
                    <a:pt x="92806" y="29306"/>
                  </a:lnTo>
                  <a:lnTo>
                    <a:pt x="93511" y="29026"/>
                  </a:lnTo>
                  <a:lnTo>
                    <a:pt x="94217" y="28830"/>
                  </a:lnTo>
                  <a:lnTo>
                    <a:pt x="94950" y="28634"/>
                  </a:lnTo>
                  <a:lnTo>
                    <a:pt x="95712" y="28466"/>
                  </a:lnTo>
                  <a:lnTo>
                    <a:pt x="96022" y="28409"/>
                  </a:lnTo>
                  <a:lnTo>
                    <a:pt x="96304" y="28381"/>
                  </a:lnTo>
                  <a:lnTo>
                    <a:pt x="96784" y="28325"/>
                  </a:lnTo>
                  <a:lnTo>
                    <a:pt x="97291" y="28297"/>
                  </a:lnTo>
                  <a:lnTo>
                    <a:pt x="97743" y="28269"/>
                  </a:lnTo>
                  <a:lnTo>
                    <a:pt x="98222" y="28297"/>
                  </a:lnTo>
                  <a:lnTo>
                    <a:pt x="98730" y="28325"/>
                  </a:lnTo>
                  <a:lnTo>
                    <a:pt x="99210" y="28353"/>
                  </a:lnTo>
                  <a:lnTo>
                    <a:pt x="99689" y="28438"/>
                  </a:lnTo>
                  <a:lnTo>
                    <a:pt x="100169" y="28494"/>
                  </a:lnTo>
                  <a:lnTo>
                    <a:pt x="101156" y="28718"/>
                  </a:lnTo>
                  <a:lnTo>
                    <a:pt x="102143" y="28970"/>
                  </a:lnTo>
                  <a:lnTo>
                    <a:pt x="103159" y="29306"/>
                  </a:lnTo>
                  <a:lnTo>
                    <a:pt x="104146" y="29614"/>
                  </a:lnTo>
                  <a:lnTo>
                    <a:pt x="106177" y="30371"/>
                  </a:lnTo>
                  <a:lnTo>
                    <a:pt x="108349" y="31155"/>
                  </a:lnTo>
                  <a:lnTo>
                    <a:pt x="109421" y="31547"/>
                  </a:lnTo>
                  <a:lnTo>
                    <a:pt x="110550" y="31884"/>
                  </a:lnTo>
                  <a:lnTo>
                    <a:pt x="111706" y="32248"/>
                  </a:lnTo>
                  <a:lnTo>
                    <a:pt x="112863" y="32528"/>
                  </a:lnTo>
                  <a:lnTo>
                    <a:pt x="108236" y="0"/>
                  </a:lnTo>
                  <a:lnTo>
                    <a:pt x="24880" y="11683"/>
                  </a:lnTo>
                  <a:lnTo>
                    <a:pt x="29506" y="44071"/>
                  </a:lnTo>
                  <a:lnTo>
                    <a:pt x="28349" y="43791"/>
                  </a:lnTo>
                  <a:lnTo>
                    <a:pt x="27221" y="43427"/>
                  </a:lnTo>
                  <a:lnTo>
                    <a:pt x="26149" y="43063"/>
                  </a:lnTo>
                  <a:lnTo>
                    <a:pt x="25049" y="42699"/>
                  </a:lnTo>
                  <a:lnTo>
                    <a:pt x="22990" y="41914"/>
                  </a:lnTo>
                  <a:lnTo>
                    <a:pt x="20959" y="41186"/>
                  </a:lnTo>
                  <a:lnTo>
                    <a:pt x="19971" y="40877"/>
                  </a:lnTo>
                  <a:lnTo>
                    <a:pt x="19012" y="40569"/>
                  </a:lnTo>
                  <a:lnTo>
                    <a:pt x="18025" y="40345"/>
                  </a:lnTo>
                  <a:lnTo>
                    <a:pt x="17066" y="40149"/>
                  </a:lnTo>
                  <a:lnTo>
                    <a:pt x="16586" y="40037"/>
                  </a:lnTo>
                  <a:lnTo>
                    <a:pt x="16107" y="39981"/>
                  </a:lnTo>
                  <a:lnTo>
                    <a:pt x="15655" y="39953"/>
                  </a:lnTo>
                  <a:lnTo>
                    <a:pt x="15148" y="39925"/>
                  </a:lnTo>
                  <a:lnTo>
                    <a:pt x="14668" y="39897"/>
                  </a:lnTo>
                  <a:lnTo>
                    <a:pt x="14217" y="39925"/>
                  </a:lnTo>
                  <a:lnTo>
                    <a:pt x="13737" y="39953"/>
                  </a:lnTo>
                  <a:lnTo>
                    <a:pt x="13258" y="40009"/>
                  </a:lnTo>
                  <a:lnTo>
                    <a:pt x="12976" y="40037"/>
                  </a:lnTo>
                  <a:lnTo>
                    <a:pt x="12665" y="40093"/>
                  </a:lnTo>
                  <a:lnTo>
                    <a:pt x="11932" y="40261"/>
                  </a:lnTo>
                  <a:lnTo>
                    <a:pt x="11198" y="40457"/>
                  </a:lnTo>
                  <a:lnTo>
                    <a:pt x="10465" y="40653"/>
                  </a:lnTo>
                  <a:lnTo>
                    <a:pt x="9760" y="40933"/>
                  </a:lnTo>
                  <a:lnTo>
                    <a:pt x="9083" y="41214"/>
                  </a:lnTo>
                  <a:lnTo>
                    <a:pt x="8406" y="41550"/>
                  </a:lnTo>
                  <a:lnTo>
                    <a:pt x="7757" y="41886"/>
                  </a:lnTo>
                  <a:lnTo>
                    <a:pt x="7136" y="42250"/>
                  </a:lnTo>
                  <a:lnTo>
                    <a:pt x="6544" y="42643"/>
                  </a:lnTo>
                  <a:lnTo>
                    <a:pt x="5952" y="43091"/>
                  </a:lnTo>
                  <a:lnTo>
                    <a:pt x="5387" y="43567"/>
                  </a:lnTo>
                  <a:lnTo>
                    <a:pt x="4823" y="44015"/>
                  </a:lnTo>
                  <a:lnTo>
                    <a:pt x="4344" y="44520"/>
                  </a:lnTo>
                  <a:lnTo>
                    <a:pt x="3836" y="45052"/>
                  </a:lnTo>
                  <a:lnTo>
                    <a:pt x="3385" y="45612"/>
                  </a:lnTo>
                  <a:lnTo>
                    <a:pt x="2933" y="46173"/>
                  </a:lnTo>
                  <a:lnTo>
                    <a:pt x="2538" y="46761"/>
                  </a:lnTo>
                  <a:lnTo>
                    <a:pt x="2143" y="47378"/>
                  </a:lnTo>
                  <a:lnTo>
                    <a:pt x="1805" y="47994"/>
                  </a:lnTo>
                  <a:lnTo>
                    <a:pt x="1466" y="48638"/>
                  </a:lnTo>
                  <a:lnTo>
                    <a:pt x="1184" y="49283"/>
                  </a:lnTo>
                  <a:lnTo>
                    <a:pt x="902" y="49955"/>
                  </a:lnTo>
                  <a:lnTo>
                    <a:pt x="677" y="50656"/>
                  </a:lnTo>
                  <a:lnTo>
                    <a:pt x="479" y="51356"/>
                  </a:lnTo>
                  <a:lnTo>
                    <a:pt x="310" y="52056"/>
                  </a:lnTo>
                  <a:lnTo>
                    <a:pt x="169" y="52785"/>
                  </a:lnTo>
                  <a:lnTo>
                    <a:pt x="84" y="53513"/>
                  </a:lnTo>
                  <a:lnTo>
                    <a:pt x="28" y="54242"/>
                  </a:lnTo>
                  <a:lnTo>
                    <a:pt x="0" y="54998"/>
                  </a:lnTo>
                  <a:lnTo>
                    <a:pt x="0" y="55783"/>
                  </a:lnTo>
                  <a:lnTo>
                    <a:pt x="56" y="56511"/>
                  </a:lnTo>
                  <a:lnTo>
                    <a:pt x="141" y="57296"/>
                  </a:lnTo>
                  <a:lnTo>
                    <a:pt x="282" y="58052"/>
                  </a:lnTo>
                  <a:lnTo>
                    <a:pt x="451" y="58809"/>
                  </a:lnTo>
                  <a:lnTo>
                    <a:pt x="648" y="59565"/>
                  </a:lnTo>
                  <a:lnTo>
                    <a:pt x="874" y="60266"/>
                  </a:lnTo>
                  <a:lnTo>
                    <a:pt x="1184" y="60994"/>
                  </a:lnTo>
                  <a:lnTo>
                    <a:pt x="1466" y="61667"/>
                  </a:lnTo>
                  <a:lnTo>
                    <a:pt x="1833" y="62339"/>
                  </a:lnTo>
                  <a:lnTo>
                    <a:pt x="2172" y="62983"/>
                  </a:lnTo>
                  <a:lnTo>
                    <a:pt x="2595" y="63628"/>
                  </a:lnTo>
                  <a:lnTo>
                    <a:pt x="3046" y="64244"/>
                  </a:lnTo>
                  <a:lnTo>
                    <a:pt x="3469" y="64833"/>
                  </a:lnTo>
                  <a:lnTo>
                    <a:pt x="3977" y="65393"/>
                  </a:lnTo>
                  <a:lnTo>
                    <a:pt x="4485" y="65897"/>
                  </a:lnTo>
                  <a:lnTo>
                    <a:pt x="5021" y="66402"/>
                  </a:lnTo>
                  <a:lnTo>
                    <a:pt x="5557" y="66906"/>
                  </a:lnTo>
                  <a:lnTo>
                    <a:pt x="6149" y="67354"/>
                  </a:lnTo>
                  <a:lnTo>
                    <a:pt x="6741" y="67774"/>
                  </a:lnTo>
                  <a:lnTo>
                    <a:pt x="7362" y="68195"/>
                  </a:lnTo>
                  <a:lnTo>
                    <a:pt x="8011" y="68531"/>
                  </a:lnTo>
                  <a:lnTo>
                    <a:pt x="8660" y="68895"/>
                  </a:lnTo>
                  <a:lnTo>
                    <a:pt x="9337" y="69175"/>
                  </a:lnTo>
                  <a:lnTo>
                    <a:pt x="10014" y="69484"/>
                  </a:lnTo>
                  <a:lnTo>
                    <a:pt x="10719" y="69708"/>
                  </a:lnTo>
                  <a:lnTo>
                    <a:pt x="11452" y="69904"/>
                  </a:lnTo>
                  <a:lnTo>
                    <a:pt x="12214" y="70100"/>
                  </a:lnTo>
                  <a:lnTo>
                    <a:pt x="12947" y="70240"/>
                  </a:lnTo>
                  <a:lnTo>
                    <a:pt x="13681" y="70324"/>
                  </a:lnTo>
                  <a:lnTo>
                    <a:pt x="14442" y="70408"/>
                  </a:lnTo>
                  <a:lnTo>
                    <a:pt x="15204" y="70408"/>
                  </a:lnTo>
                  <a:lnTo>
                    <a:pt x="15994" y="70408"/>
                  </a:lnTo>
                  <a:lnTo>
                    <a:pt x="16755" y="70352"/>
                  </a:lnTo>
                  <a:lnTo>
                    <a:pt x="17574" y="70268"/>
                  </a:lnTo>
                  <a:lnTo>
                    <a:pt x="18251" y="70072"/>
                  </a:lnTo>
                  <a:lnTo>
                    <a:pt x="18899" y="69820"/>
                  </a:lnTo>
                  <a:lnTo>
                    <a:pt x="19492" y="69596"/>
                  </a:lnTo>
                  <a:lnTo>
                    <a:pt x="20056" y="69343"/>
                  </a:lnTo>
                  <a:lnTo>
                    <a:pt x="21156" y="68839"/>
                  </a:lnTo>
                  <a:lnTo>
                    <a:pt x="22172" y="68307"/>
                  </a:lnTo>
                  <a:lnTo>
                    <a:pt x="23102" y="67774"/>
                  </a:lnTo>
                  <a:lnTo>
                    <a:pt x="23949" y="67214"/>
                  </a:lnTo>
                  <a:lnTo>
                    <a:pt x="24795" y="66682"/>
                  </a:lnTo>
                  <a:lnTo>
                    <a:pt x="25557" y="66093"/>
                  </a:lnTo>
                  <a:lnTo>
                    <a:pt x="27052" y="64889"/>
                  </a:lnTo>
                  <a:lnTo>
                    <a:pt x="28519" y="63684"/>
                  </a:lnTo>
                  <a:lnTo>
                    <a:pt x="29337" y="63067"/>
                  </a:lnTo>
                  <a:lnTo>
                    <a:pt x="30126" y="62451"/>
                  </a:lnTo>
                  <a:lnTo>
                    <a:pt x="31001" y="61863"/>
                  </a:lnTo>
                  <a:lnTo>
                    <a:pt x="31960" y="61246"/>
                  </a:lnTo>
                  <a:lnTo>
                    <a:pt x="36671" y="94307"/>
                  </a:lnTo>
                  <a:lnTo>
                    <a:pt x="69760" y="89712"/>
                  </a:lnTo>
                  <a:lnTo>
                    <a:pt x="69421" y="90917"/>
                  </a:lnTo>
                  <a:lnTo>
                    <a:pt x="69111" y="92122"/>
                  </a:lnTo>
                  <a:lnTo>
                    <a:pt x="68716" y="93299"/>
                  </a:lnTo>
                  <a:lnTo>
                    <a:pt x="68349" y="94447"/>
                  </a:lnTo>
                  <a:lnTo>
                    <a:pt x="67531" y="96633"/>
                  </a:lnTo>
                  <a:lnTo>
                    <a:pt x="66713" y="98762"/>
                  </a:lnTo>
                  <a:lnTo>
                    <a:pt x="66375" y="99799"/>
                  </a:lnTo>
                  <a:lnTo>
                    <a:pt x="66036" y="100835"/>
                  </a:lnTo>
                  <a:lnTo>
                    <a:pt x="65754" y="101844"/>
                  </a:lnTo>
                  <a:lnTo>
                    <a:pt x="65557" y="102853"/>
                  </a:lnTo>
                  <a:lnTo>
                    <a:pt x="65444" y="103357"/>
                  </a:lnTo>
                  <a:lnTo>
                    <a:pt x="65359" y="103861"/>
                  </a:lnTo>
                  <a:lnTo>
                    <a:pt x="65303" y="104366"/>
                  </a:lnTo>
                  <a:lnTo>
                    <a:pt x="65275" y="104870"/>
                  </a:lnTo>
                  <a:lnTo>
                    <a:pt x="65275" y="105374"/>
                  </a:lnTo>
                  <a:lnTo>
                    <a:pt x="65275" y="105851"/>
                  </a:lnTo>
                  <a:lnTo>
                    <a:pt x="65303" y="106355"/>
                  </a:lnTo>
                  <a:lnTo>
                    <a:pt x="65359" y="106859"/>
                  </a:lnTo>
                  <a:lnTo>
                    <a:pt x="65416" y="107139"/>
                  </a:lnTo>
                  <a:lnTo>
                    <a:pt x="65472" y="107448"/>
                  </a:lnTo>
                  <a:lnTo>
                    <a:pt x="65641" y="108176"/>
                  </a:lnTo>
                  <a:lnTo>
                    <a:pt x="65811" y="108904"/>
                  </a:lnTo>
                  <a:lnTo>
                    <a:pt x="66036" y="109633"/>
                  </a:lnTo>
                  <a:lnTo>
                    <a:pt x="66318" y="110305"/>
                  </a:lnTo>
                  <a:lnTo>
                    <a:pt x="66572" y="111006"/>
                  </a:lnTo>
                  <a:lnTo>
                    <a:pt x="66911" y="111650"/>
                  </a:lnTo>
                  <a:lnTo>
                    <a:pt x="67249" y="112295"/>
                  </a:lnTo>
                  <a:lnTo>
                    <a:pt x="67644" y="112939"/>
                  </a:lnTo>
                  <a:lnTo>
                    <a:pt x="68039" y="113527"/>
                  </a:lnTo>
                  <a:lnTo>
                    <a:pt x="68490" y="114088"/>
                  </a:lnTo>
                  <a:lnTo>
                    <a:pt x="68942" y="114648"/>
                  </a:lnTo>
                  <a:lnTo>
                    <a:pt x="69421" y="115180"/>
                  </a:lnTo>
                  <a:lnTo>
                    <a:pt x="69929" y="115713"/>
                  </a:lnTo>
                  <a:lnTo>
                    <a:pt x="70465" y="116217"/>
                  </a:lnTo>
                  <a:lnTo>
                    <a:pt x="71029" y="116637"/>
                  </a:lnTo>
                  <a:lnTo>
                    <a:pt x="71593" y="117086"/>
                  </a:lnTo>
                  <a:lnTo>
                    <a:pt x="72186" y="117478"/>
                  </a:lnTo>
                  <a:lnTo>
                    <a:pt x="72806" y="117870"/>
                  </a:lnTo>
                  <a:lnTo>
                    <a:pt x="73455" y="118234"/>
                  </a:lnTo>
                  <a:lnTo>
                    <a:pt x="74104" y="118543"/>
                  </a:lnTo>
                  <a:lnTo>
                    <a:pt x="74724" y="118823"/>
                  </a:lnTo>
                  <a:lnTo>
                    <a:pt x="75430" y="119103"/>
                  </a:lnTo>
                  <a:lnTo>
                    <a:pt x="76135" y="119327"/>
                  </a:lnTo>
                  <a:lnTo>
                    <a:pt x="76812" y="119523"/>
                  </a:lnTo>
                  <a:lnTo>
                    <a:pt x="77545" y="119691"/>
                  </a:lnTo>
                  <a:lnTo>
                    <a:pt x="78251" y="119831"/>
                  </a:lnTo>
                  <a:lnTo>
                    <a:pt x="78984" y="119915"/>
                  </a:lnTo>
                  <a:lnTo>
                    <a:pt x="79746" y="119971"/>
                  </a:lnTo>
                  <a:lnTo>
                    <a:pt x="80479" y="119999"/>
                  </a:lnTo>
                  <a:lnTo>
                    <a:pt x="81241" y="119971"/>
                  </a:lnTo>
                  <a:lnTo>
                    <a:pt x="82031" y="119943"/>
                  </a:lnTo>
                  <a:lnTo>
                    <a:pt x="82792" y="119859"/>
                  </a:lnTo>
                  <a:lnTo>
                    <a:pt x="83582" y="119719"/>
                  </a:lnTo>
                  <a:lnTo>
                    <a:pt x="84344" y="119579"/>
                  </a:lnTo>
                  <a:lnTo>
                    <a:pt x="85077" y="119355"/>
                  </a:lnTo>
                  <a:lnTo>
                    <a:pt x="85811" y="119103"/>
                  </a:lnTo>
                  <a:lnTo>
                    <a:pt x="86516" y="118823"/>
                  </a:lnTo>
                  <a:lnTo>
                    <a:pt x="87221" y="118543"/>
                  </a:lnTo>
                  <a:lnTo>
                    <a:pt x="87898" y="118206"/>
                  </a:lnTo>
                  <a:lnTo>
                    <a:pt x="88547" y="117842"/>
                  </a:lnTo>
                  <a:lnTo>
                    <a:pt x="89167" y="117422"/>
                  </a:lnTo>
                  <a:lnTo>
                    <a:pt x="89788" y="117002"/>
                  </a:lnTo>
                  <a:lnTo>
                    <a:pt x="90380" y="116553"/>
                  </a:lnTo>
                  <a:lnTo>
                    <a:pt x="90944" y="116049"/>
                  </a:lnTo>
                  <a:lnTo>
                    <a:pt x="91480" y="115573"/>
                  </a:lnTo>
                  <a:lnTo>
                    <a:pt x="92016" y="115040"/>
                  </a:lnTo>
                  <a:lnTo>
                    <a:pt x="92468" y="114480"/>
                  </a:lnTo>
                  <a:lnTo>
                    <a:pt x="92947" y="113892"/>
                  </a:lnTo>
                  <a:lnTo>
                    <a:pt x="93370" y="113303"/>
                  </a:lnTo>
                  <a:lnTo>
                    <a:pt x="93765" y="112687"/>
                  </a:lnTo>
                  <a:lnTo>
                    <a:pt x="94160" y="112042"/>
                  </a:lnTo>
                  <a:lnTo>
                    <a:pt x="94471" y="111426"/>
                  </a:lnTo>
                  <a:lnTo>
                    <a:pt x="94809" y="110754"/>
                  </a:lnTo>
                  <a:lnTo>
                    <a:pt x="95063" y="110053"/>
                  </a:lnTo>
                  <a:lnTo>
                    <a:pt x="95317" y="109325"/>
                  </a:lnTo>
                  <a:lnTo>
                    <a:pt x="95543" y="108624"/>
                  </a:lnTo>
                  <a:lnTo>
                    <a:pt x="95712" y="107896"/>
                  </a:lnTo>
                  <a:lnTo>
                    <a:pt x="95853" y="107167"/>
                  </a:lnTo>
                  <a:lnTo>
                    <a:pt x="95966" y="106411"/>
                  </a:lnTo>
                  <a:lnTo>
                    <a:pt x="96022" y="105682"/>
                  </a:lnTo>
                  <a:lnTo>
                    <a:pt x="96050" y="104898"/>
                  </a:lnTo>
                  <a:lnTo>
                    <a:pt x="96050" y="104141"/>
                  </a:lnTo>
                  <a:lnTo>
                    <a:pt x="95994" y="103357"/>
                  </a:lnTo>
                  <a:lnTo>
                    <a:pt x="95909" y="102600"/>
                  </a:lnTo>
                  <a:lnTo>
                    <a:pt x="95655" y="101872"/>
                  </a:lnTo>
                  <a:lnTo>
                    <a:pt x="95401" y="101228"/>
                  </a:lnTo>
                  <a:lnTo>
                    <a:pt x="95148" y="100583"/>
                  </a:lnTo>
                  <a:lnTo>
                    <a:pt x="94894" y="99967"/>
                  </a:lnTo>
                  <a:lnTo>
                    <a:pt x="94640" y="99378"/>
                  </a:lnTo>
                  <a:lnTo>
                    <a:pt x="94358" y="98818"/>
                  </a:lnTo>
                  <a:lnTo>
                    <a:pt x="94076" y="98286"/>
                  </a:lnTo>
                  <a:lnTo>
                    <a:pt x="93794" y="97781"/>
                  </a:lnTo>
                  <a:lnTo>
                    <a:pt x="93229" y="96829"/>
                  </a:lnTo>
                  <a:lnTo>
                    <a:pt x="92637" y="95960"/>
                  </a:lnTo>
                  <a:lnTo>
                    <a:pt x="92016" y="95120"/>
                  </a:lnTo>
                  <a:lnTo>
                    <a:pt x="91396" y="94279"/>
                  </a:lnTo>
                  <a:lnTo>
                    <a:pt x="90126" y="92738"/>
                  </a:lnTo>
                  <a:lnTo>
                    <a:pt x="88801" y="91169"/>
                  </a:lnTo>
                  <a:lnTo>
                    <a:pt x="88152" y="90301"/>
                  </a:lnTo>
                  <a:lnTo>
                    <a:pt x="87503" y="89404"/>
                  </a:lnTo>
                  <a:lnTo>
                    <a:pt x="86854" y="88452"/>
                  </a:lnTo>
                  <a:lnTo>
                    <a:pt x="86205" y="87387"/>
                  </a:lnTo>
                  <a:lnTo>
                    <a:pt x="120000" y="82652"/>
                  </a:lnTo>
                  <a:lnTo>
                    <a:pt x="115260" y="4942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" name="Стрелка вниз 8"/>
          <p:cNvSpPr/>
          <p:nvPr/>
        </p:nvSpPr>
        <p:spPr>
          <a:xfrm rot="3521697">
            <a:off x="8488116" y="2047284"/>
            <a:ext cx="457034" cy="1128037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9" name="Group 77">
            <a:extLst>
              <a:ext uri="{FF2B5EF4-FFF2-40B4-BE49-F238E27FC236}">
                <a16:creationId xmlns:a16="http://schemas.microsoft.com/office/drawing/2014/main" id="{A702B16C-210E-4833-9C33-7BA7DAF964DE}"/>
              </a:ext>
            </a:extLst>
          </p:cNvPr>
          <p:cNvGrpSpPr/>
          <p:nvPr/>
        </p:nvGrpSpPr>
        <p:grpSpPr>
          <a:xfrm>
            <a:off x="3652246" y="5740509"/>
            <a:ext cx="350797" cy="270648"/>
            <a:chOff x="5552261" y="1554043"/>
            <a:chExt cx="363359" cy="278229"/>
          </a:xfrm>
          <a:solidFill>
            <a:schemeClr val="tx2"/>
          </a:solidFill>
        </p:grpSpPr>
        <p:sp>
          <p:nvSpPr>
            <p:cNvPr id="170" name="Freeform 96">
              <a:extLst>
                <a:ext uri="{FF2B5EF4-FFF2-40B4-BE49-F238E27FC236}">
                  <a16:creationId xmlns:a16="http://schemas.microsoft.com/office/drawing/2014/main" id="{BEB49882-8BAA-485A-94A8-B8CF0914C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261" y="1715997"/>
              <a:ext cx="363359" cy="116275"/>
            </a:xfrm>
            <a:custGeom>
              <a:avLst/>
              <a:gdLst/>
              <a:ahLst/>
              <a:cxnLst>
                <a:cxn ang="0">
                  <a:pos x="211" y="31"/>
                </a:cxn>
                <a:cxn ang="0">
                  <a:pos x="140" y="31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96"/>
                </a:cxn>
                <a:cxn ang="0">
                  <a:pos x="0" y="96"/>
                </a:cxn>
                <a:cxn ang="0">
                  <a:pos x="2" y="102"/>
                </a:cxn>
                <a:cxn ang="0">
                  <a:pos x="4" y="107"/>
                </a:cxn>
                <a:cxn ang="0">
                  <a:pos x="9" y="111"/>
                </a:cxn>
                <a:cxn ang="0">
                  <a:pos x="17" y="112"/>
                </a:cxn>
                <a:cxn ang="0">
                  <a:pos x="334" y="112"/>
                </a:cxn>
                <a:cxn ang="0">
                  <a:pos x="334" y="112"/>
                </a:cxn>
                <a:cxn ang="0">
                  <a:pos x="341" y="111"/>
                </a:cxn>
                <a:cxn ang="0">
                  <a:pos x="347" y="107"/>
                </a:cxn>
                <a:cxn ang="0">
                  <a:pos x="350" y="102"/>
                </a:cxn>
                <a:cxn ang="0">
                  <a:pos x="350" y="96"/>
                </a:cxn>
                <a:cxn ang="0">
                  <a:pos x="350" y="0"/>
                </a:cxn>
                <a:cxn ang="0">
                  <a:pos x="211" y="0"/>
                </a:cxn>
                <a:cxn ang="0">
                  <a:pos x="211" y="31"/>
                </a:cxn>
              </a:cxnLst>
              <a:rect l="0" t="0" r="r" b="b"/>
              <a:pathLst>
                <a:path w="350" h="112">
                  <a:moveTo>
                    <a:pt x="211" y="31"/>
                  </a:moveTo>
                  <a:lnTo>
                    <a:pt x="140" y="31"/>
                  </a:lnTo>
                  <a:lnTo>
                    <a:pt x="140" y="0"/>
                  </a:lnTo>
                  <a:lnTo>
                    <a:pt x="0" y="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02"/>
                  </a:lnTo>
                  <a:lnTo>
                    <a:pt x="4" y="107"/>
                  </a:lnTo>
                  <a:lnTo>
                    <a:pt x="9" y="111"/>
                  </a:lnTo>
                  <a:lnTo>
                    <a:pt x="17" y="112"/>
                  </a:lnTo>
                  <a:lnTo>
                    <a:pt x="334" y="112"/>
                  </a:lnTo>
                  <a:lnTo>
                    <a:pt x="334" y="112"/>
                  </a:lnTo>
                  <a:lnTo>
                    <a:pt x="341" y="111"/>
                  </a:lnTo>
                  <a:lnTo>
                    <a:pt x="347" y="107"/>
                  </a:lnTo>
                  <a:lnTo>
                    <a:pt x="350" y="102"/>
                  </a:lnTo>
                  <a:lnTo>
                    <a:pt x="350" y="96"/>
                  </a:lnTo>
                  <a:lnTo>
                    <a:pt x="350" y="0"/>
                  </a:lnTo>
                  <a:lnTo>
                    <a:pt x="211" y="0"/>
                  </a:lnTo>
                  <a:lnTo>
                    <a:pt x="211" y="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1" name="Freeform 97">
              <a:extLst>
                <a:ext uri="{FF2B5EF4-FFF2-40B4-BE49-F238E27FC236}">
                  <a16:creationId xmlns:a16="http://schemas.microsoft.com/office/drawing/2014/main" id="{E9589E4C-F30F-4F22-8D5C-748AF28782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2261" y="1554043"/>
              <a:ext cx="363359" cy="137038"/>
            </a:xfrm>
            <a:custGeom>
              <a:avLst/>
              <a:gdLst/>
              <a:ahLst/>
              <a:cxnLst>
                <a:cxn ang="0">
                  <a:pos x="334" y="42"/>
                </a:cxn>
                <a:cxn ang="0">
                  <a:pos x="225" y="42"/>
                </a:cxn>
                <a:cxn ang="0">
                  <a:pos x="225" y="42"/>
                </a:cxn>
                <a:cxn ang="0">
                  <a:pos x="225" y="5"/>
                </a:cxn>
                <a:cxn ang="0">
                  <a:pos x="225" y="5"/>
                </a:cxn>
                <a:cxn ang="0">
                  <a:pos x="225" y="2"/>
                </a:cxn>
                <a:cxn ang="0">
                  <a:pos x="223" y="0"/>
                </a:cxn>
                <a:cxn ang="0">
                  <a:pos x="222" y="0"/>
                </a:cxn>
                <a:cxn ang="0">
                  <a:pos x="120" y="0"/>
                </a:cxn>
                <a:cxn ang="0">
                  <a:pos x="120" y="0"/>
                </a:cxn>
                <a:cxn ang="0">
                  <a:pos x="118" y="2"/>
                </a:cxn>
                <a:cxn ang="0">
                  <a:pos x="116" y="4"/>
                </a:cxn>
                <a:cxn ang="0">
                  <a:pos x="115" y="5"/>
                </a:cxn>
                <a:cxn ang="0">
                  <a:pos x="115" y="5"/>
                </a:cxn>
                <a:cxn ang="0">
                  <a:pos x="115" y="42"/>
                </a:cxn>
                <a:cxn ang="0">
                  <a:pos x="17" y="42"/>
                </a:cxn>
                <a:cxn ang="0">
                  <a:pos x="17" y="42"/>
                </a:cxn>
                <a:cxn ang="0">
                  <a:pos x="9" y="42"/>
                </a:cxn>
                <a:cxn ang="0">
                  <a:pos x="4" y="45"/>
                </a:cxn>
                <a:cxn ang="0">
                  <a:pos x="2" y="51"/>
                </a:cxn>
                <a:cxn ang="0">
                  <a:pos x="0" y="58"/>
                </a:cxn>
                <a:cxn ang="0">
                  <a:pos x="0" y="130"/>
                </a:cxn>
                <a:cxn ang="0">
                  <a:pos x="350" y="130"/>
                </a:cxn>
                <a:cxn ang="0">
                  <a:pos x="350" y="58"/>
                </a:cxn>
                <a:cxn ang="0">
                  <a:pos x="350" y="58"/>
                </a:cxn>
                <a:cxn ang="0">
                  <a:pos x="350" y="51"/>
                </a:cxn>
                <a:cxn ang="0">
                  <a:pos x="347" y="45"/>
                </a:cxn>
                <a:cxn ang="0">
                  <a:pos x="341" y="42"/>
                </a:cxn>
                <a:cxn ang="0">
                  <a:pos x="334" y="42"/>
                </a:cxn>
                <a:cxn ang="0">
                  <a:pos x="334" y="42"/>
                </a:cxn>
                <a:cxn ang="0">
                  <a:pos x="133" y="42"/>
                </a:cxn>
                <a:cxn ang="0">
                  <a:pos x="133" y="13"/>
                </a:cxn>
                <a:cxn ang="0">
                  <a:pos x="209" y="13"/>
                </a:cxn>
                <a:cxn ang="0">
                  <a:pos x="209" y="42"/>
                </a:cxn>
                <a:cxn ang="0">
                  <a:pos x="133" y="42"/>
                </a:cxn>
              </a:cxnLst>
              <a:rect l="0" t="0" r="r" b="b"/>
              <a:pathLst>
                <a:path w="350" h="130">
                  <a:moveTo>
                    <a:pt x="334" y="42"/>
                  </a:moveTo>
                  <a:lnTo>
                    <a:pt x="225" y="42"/>
                  </a:lnTo>
                  <a:lnTo>
                    <a:pt x="225" y="42"/>
                  </a:lnTo>
                  <a:lnTo>
                    <a:pt x="225" y="5"/>
                  </a:lnTo>
                  <a:lnTo>
                    <a:pt x="225" y="5"/>
                  </a:lnTo>
                  <a:lnTo>
                    <a:pt x="225" y="2"/>
                  </a:lnTo>
                  <a:lnTo>
                    <a:pt x="223" y="0"/>
                  </a:lnTo>
                  <a:lnTo>
                    <a:pt x="22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8" y="2"/>
                  </a:lnTo>
                  <a:lnTo>
                    <a:pt x="116" y="4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9" y="42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0" y="58"/>
                  </a:lnTo>
                  <a:lnTo>
                    <a:pt x="0" y="130"/>
                  </a:lnTo>
                  <a:lnTo>
                    <a:pt x="350" y="130"/>
                  </a:lnTo>
                  <a:lnTo>
                    <a:pt x="350" y="58"/>
                  </a:lnTo>
                  <a:lnTo>
                    <a:pt x="350" y="58"/>
                  </a:lnTo>
                  <a:lnTo>
                    <a:pt x="350" y="51"/>
                  </a:lnTo>
                  <a:lnTo>
                    <a:pt x="347" y="45"/>
                  </a:lnTo>
                  <a:lnTo>
                    <a:pt x="341" y="42"/>
                  </a:lnTo>
                  <a:lnTo>
                    <a:pt x="334" y="42"/>
                  </a:lnTo>
                  <a:lnTo>
                    <a:pt x="334" y="42"/>
                  </a:lnTo>
                  <a:close/>
                  <a:moveTo>
                    <a:pt x="133" y="42"/>
                  </a:moveTo>
                  <a:lnTo>
                    <a:pt x="133" y="13"/>
                  </a:lnTo>
                  <a:lnTo>
                    <a:pt x="209" y="13"/>
                  </a:lnTo>
                  <a:lnTo>
                    <a:pt x="209" y="42"/>
                  </a:lnTo>
                  <a:lnTo>
                    <a:pt x="133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2" name="Rectangle 98">
              <a:extLst>
                <a:ext uri="{FF2B5EF4-FFF2-40B4-BE49-F238E27FC236}">
                  <a16:creationId xmlns:a16="http://schemas.microsoft.com/office/drawing/2014/main" id="{7F0DD6F2-CE5E-454E-AF60-40654CC38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0062" y="1715997"/>
              <a:ext cx="45679" cy="186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  <p:sp>
        <p:nvSpPr>
          <p:cNvPr id="173" name="Freeform 23">
            <a:extLst>
              <a:ext uri="{FF2B5EF4-FFF2-40B4-BE49-F238E27FC236}">
                <a16:creationId xmlns:a16="http://schemas.microsoft.com/office/drawing/2014/main" id="{A895C838-4BF3-48A0-9E37-A3212D67DEE6}"/>
              </a:ext>
            </a:extLst>
          </p:cNvPr>
          <p:cNvSpPr>
            <a:spLocks noEditPoints="1"/>
          </p:cNvSpPr>
          <p:nvPr/>
        </p:nvSpPr>
        <p:spPr bwMode="auto">
          <a:xfrm>
            <a:off x="4322151" y="4364921"/>
            <a:ext cx="326644" cy="232732"/>
          </a:xfrm>
          <a:custGeom>
            <a:avLst/>
            <a:gdLst/>
            <a:ahLst/>
            <a:cxnLst>
              <a:cxn ang="0">
                <a:pos x="312" y="110"/>
              </a:cxn>
              <a:cxn ang="0">
                <a:pos x="323" y="138"/>
              </a:cxn>
              <a:cxn ang="0">
                <a:pos x="350" y="127"/>
              </a:cxn>
              <a:cxn ang="0">
                <a:pos x="339" y="100"/>
              </a:cxn>
              <a:cxn ang="0">
                <a:pos x="25" y="100"/>
              </a:cxn>
              <a:cxn ang="0">
                <a:pos x="15" y="127"/>
              </a:cxn>
              <a:cxn ang="0">
                <a:pos x="42" y="138"/>
              </a:cxn>
              <a:cxn ang="0">
                <a:pos x="53" y="110"/>
              </a:cxn>
              <a:cxn ang="0">
                <a:pos x="270" y="60"/>
              </a:cxn>
              <a:cxn ang="0">
                <a:pos x="248" y="69"/>
              </a:cxn>
              <a:cxn ang="0">
                <a:pos x="239" y="91"/>
              </a:cxn>
              <a:cxn ang="0">
                <a:pos x="252" y="116"/>
              </a:cxn>
              <a:cxn ang="0">
                <a:pos x="276" y="121"/>
              </a:cxn>
              <a:cxn ang="0">
                <a:pos x="297" y="103"/>
              </a:cxn>
              <a:cxn ang="0">
                <a:pos x="297" y="80"/>
              </a:cxn>
              <a:cxn ang="0">
                <a:pos x="276" y="62"/>
              </a:cxn>
              <a:cxn ang="0">
                <a:pos x="330" y="183"/>
              </a:cxn>
              <a:cxn ang="0">
                <a:pos x="321" y="152"/>
              </a:cxn>
              <a:cxn ang="0">
                <a:pos x="350" y="158"/>
              </a:cxn>
              <a:cxn ang="0">
                <a:pos x="364" y="185"/>
              </a:cxn>
              <a:cxn ang="0">
                <a:pos x="83" y="63"/>
              </a:cxn>
              <a:cxn ang="0">
                <a:pos x="65" y="85"/>
              </a:cxn>
              <a:cxn ang="0">
                <a:pos x="71" y="109"/>
              </a:cxn>
              <a:cxn ang="0">
                <a:pos x="96" y="121"/>
              </a:cxn>
              <a:cxn ang="0">
                <a:pos x="118" y="112"/>
              </a:cxn>
              <a:cxn ang="0">
                <a:pos x="127" y="91"/>
              </a:cxn>
              <a:cxn ang="0">
                <a:pos x="112" y="65"/>
              </a:cxn>
              <a:cxn ang="0">
                <a:pos x="35" y="150"/>
              </a:cxn>
              <a:cxn ang="0">
                <a:pos x="36" y="176"/>
              </a:cxn>
              <a:cxn ang="0">
                <a:pos x="0" y="185"/>
              </a:cxn>
              <a:cxn ang="0">
                <a:pos x="15" y="158"/>
              </a:cxn>
              <a:cxn ang="0">
                <a:pos x="183" y="0"/>
              </a:cxn>
              <a:cxn ang="0">
                <a:pos x="151" y="13"/>
              </a:cxn>
              <a:cxn ang="0">
                <a:pos x="138" y="45"/>
              </a:cxn>
              <a:cxn ang="0">
                <a:pos x="158" y="81"/>
              </a:cxn>
              <a:cxn ang="0">
                <a:pos x="192" y="89"/>
              </a:cxn>
              <a:cxn ang="0">
                <a:pos x="225" y="62"/>
              </a:cxn>
              <a:cxn ang="0">
                <a:pos x="225" y="27"/>
              </a:cxn>
              <a:cxn ang="0">
                <a:pos x="192" y="0"/>
              </a:cxn>
              <a:cxn ang="0">
                <a:pos x="265" y="174"/>
              </a:cxn>
              <a:cxn ang="0">
                <a:pos x="256" y="136"/>
              </a:cxn>
              <a:cxn ang="0">
                <a:pos x="279" y="136"/>
              </a:cxn>
              <a:cxn ang="0">
                <a:pos x="316" y="165"/>
              </a:cxn>
              <a:cxn ang="0">
                <a:pos x="100" y="272"/>
              </a:cxn>
              <a:cxn ang="0">
                <a:pos x="51" y="165"/>
              </a:cxn>
              <a:cxn ang="0">
                <a:pos x="85" y="136"/>
              </a:cxn>
              <a:cxn ang="0">
                <a:pos x="109" y="136"/>
              </a:cxn>
              <a:cxn ang="0">
                <a:pos x="100" y="174"/>
              </a:cxn>
              <a:cxn ang="0">
                <a:pos x="252" y="159"/>
              </a:cxn>
              <a:cxn ang="0">
                <a:pos x="210" y="109"/>
              </a:cxn>
              <a:cxn ang="0">
                <a:pos x="154" y="109"/>
              </a:cxn>
              <a:cxn ang="0">
                <a:pos x="112" y="159"/>
              </a:cxn>
            </a:cxnLst>
            <a:rect l="0" t="0" r="r" b="b"/>
            <a:pathLst>
              <a:path w="364" h="301">
                <a:moveTo>
                  <a:pt x="332" y="98"/>
                </a:moveTo>
                <a:lnTo>
                  <a:pt x="332" y="98"/>
                </a:lnTo>
                <a:lnTo>
                  <a:pt x="323" y="100"/>
                </a:lnTo>
                <a:lnTo>
                  <a:pt x="317" y="105"/>
                </a:lnTo>
                <a:lnTo>
                  <a:pt x="312" y="110"/>
                </a:lnTo>
                <a:lnTo>
                  <a:pt x="310" y="120"/>
                </a:lnTo>
                <a:lnTo>
                  <a:pt x="310" y="120"/>
                </a:lnTo>
                <a:lnTo>
                  <a:pt x="312" y="127"/>
                </a:lnTo>
                <a:lnTo>
                  <a:pt x="317" y="134"/>
                </a:lnTo>
                <a:lnTo>
                  <a:pt x="323" y="138"/>
                </a:lnTo>
                <a:lnTo>
                  <a:pt x="332" y="139"/>
                </a:lnTo>
                <a:lnTo>
                  <a:pt x="332" y="139"/>
                </a:lnTo>
                <a:lnTo>
                  <a:pt x="339" y="138"/>
                </a:lnTo>
                <a:lnTo>
                  <a:pt x="346" y="134"/>
                </a:lnTo>
                <a:lnTo>
                  <a:pt x="350" y="127"/>
                </a:lnTo>
                <a:lnTo>
                  <a:pt x="352" y="120"/>
                </a:lnTo>
                <a:lnTo>
                  <a:pt x="352" y="120"/>
                </a:lnTo>
                <a:lnTo>
                  <a:pt x="350" y="110"/>
                </a:lnTo>
                <a:lnTo>
                  <a:pt x="346" y="105"/>
                </a:lnTo>
                <a:lnTo>
                  <a:pt x="339" y="100"/>
                </a:lnTo>
                <a:lnTo>
                  <a:pt x="332" y="98"/>
                </a:lnTo>
                <a:lnTo>
                  <a:pt x="332" y="98"/>
                </a:lnTo>
                <a:close/>
                <a:moveTo>
                  <a:pt x="35" y="98"/>
                </a:moveTo>
                <a:lnTo>
                  <a:pt x="35" y="98"/>
                </a:lnTo>
                <a:lnTo>
                  <a:pt x="25" y="100"/>
                </a:lnTo>
                <a:lnTo>
                  <a:pt x="20" y="105"/>
                </a:lnTo>
                <a:lnTo>
                  <a:pt x="15" y="110"/>
                </a:lnTo>
                <a:lnTo>
                  <a:pt x="13" y="120"/>
                </a:lnTo>
                <a:lnTo>
                  <a:pt x="13" y="120"/>
                </a:lnTo>
                <a:lnTo>
                  <a:pt x="15" y="127"/>
                </a:lnTo>
                <a:lnTo>
                  <a:pt x="20" y="134"/>
                </a:lnTo>
                <a:lnTo>
                  <a:pt x="25" y="138"/>
                </a:lnTo>
                <a:lnTo>
                  <a:pt x="35" y="139"/>
                </a:lnTo>
                <a:lnTo>
                  <a:pt x="35" y="139"/>
                </a:lnTo>
                <a:lnTo>
                  <a:pt x="42" y="138"/>
                </a:lnTo>
                <a:lnTo>
                  <a:pt x="49" y="134"/>
                </a:lnTo>
                <a:lnTo>
                  <a:pt x="53" y="127"/>
                </a:lnTo>
                <a:lnTo>
                  <a:pt x="54" y="120"/>
                </a:lnTo>
                <a:lnTo>
                  <a:pt x="54" y="120"/>
                </a:lnTo>
                <a:lnTo>
                  <a:pt x="53" y="110"/>
                </a:lnTo>
                <a:lnTo>
                  <a:pt x="49" y="105"/>
                </a:lnTo>
                <a:lnTo>
                  <a:pt x="42" y="100"/>
                </a:lnTo>
                <a:lnTo>
                  <a:pt x="35" y="98"/>
                </a:lnTo>
                <a:lnTo>
                  <a:pt x="35" y="98"/>
                </a:lnTo>
                <a:close/>
                <a:moveTo>
                  <a:pt x="270" y="60"/>
                </a:moveTo>
                <a:lnTo>
                  <a:pt x="270" y="60"/>
                </a:lnTo>
                <a:lnTo>
                  <a:pt x="263" y="62"/>
                </a:lnTo>
                <a:lnTo>
                  <a:pt x="258" y="63"/>
                </a:lnTo>
                <a:lnTo>
                  <a:pt x="252" y="65"/>
                </a:lnTo>
                <a:lnTo>
                  <a:pt x="248" y="69"/>
                </a:lnTo>
                <a:lnTo>
                  <a:pt x="245" y="74"/>
                </a:lnTo>
                <a:lnTo>
                  <a:pt x="241" y="80"/>
                </a:lnTo>
                <a:lnTo>
                  <a:pt x="239" y="85"/>
                </a:lnTo>
                <a:lnTo>
                  <a:pt x="239" y="91"/>
                </a:lnTo>
                <a:lnTo>
                  <a:pt x="239" y="91"/>
                </a:lnTo>
                <a:lnTo>
                  <a:pt x="239" y="98"/>
                </a:lnTo>
                <a:lnTo>
                  <a:pt x="241" y="103"/>
                </a:lnTo>
                <a:lnTo>
                  <a:pt x="245" y="109"/>
                </a:lnTo>
                <a:lnTo>
                  <a:pt x="248" y="112"/>
                </a:lnTo>
                <a:lnTo>
                  <a:pt x="252" y="116"/>
                </a:lnTo>
                <a:lnTo>
                  <a:pt x="258" y="120"/>
                </a:lnTo>
                <a:lnTo>
                  <a:pt x="263" y="121"/>
                </a:lnTo>
                <a:lnTo>
                  <a:pt x="270" y="121"/>
                </a:lnTo>
                <a:lnTo>
                  <a:pt x="270" y="121"/>
                </a:lnTo>
                <a:lnTo>
                  <a:pt x="276" y="121"/>
                </a:lnTo>
                <a:lnTo>
                  <a:pt x="281" y="120"/>
                </a:lnTo>
                <a:lnTo>
                  <a:pt x="287" y="116"/>
                </a:lnTo>
                <a:lnTo>
                  <a:pt x="292" y="112"/>
                </a:lnTo>
                <a:lnTo>
                  <a:pt x="296" y="109"/>
                </a:lnTo>
                <a:lnTo>
                  <a:pt x="297" y="103"/>
                </a:lnTo>
                <a:lnTo>
                  <a:pt x="299" y="98"/>
                </a:lnTo>
                <a:lnTo>
                  <a:pt x="301" y="91"/>
                </a:lnTo>
                <a:lnTo>
                  <a:pt x="301" y="91"/>
                </a:lnTo>
                <a:lnTo>
                  <a:pt x="299" y="85"/>
                </a:lnTo>
                <a:lnTo>
                  <a:pt x="297" y="80"/>
                </a:lnTo>
                <a:lnTo>
                  <a:pt x="296" y="74"/>
                </a:lnTo>
                <a:lnTo>
                  <a:pt x="292" y="69"/>
                </a:lnTo>
                <a:lnTo>
                  <a:pt x="287" y="65"/>
                </a:lnTo>
                <a:lnTo>
                  <a:pt x="281" y="63"/>
                </a:lnTo>
                <a:lnTo>
                  <a:pt x="276" y="62"/>
                </a:lnTo>
                <a:lnTo>
                  <a:pt x="270" y="60"/>
                </a:lnTo>
                <a:lnTo>
                  <a:pt x="270" y="60"/>
                </a:lnTo>
                <a:close/>
                <a:moveTo>
                  <a:pt x="364" y="248"/>
                </a:moveTo>
                <a:lnTo>
                  <a:pt x="330" y="248"/>
                </a:lnTo>
                <a:lnTo>
                  <a:pt x="330" y="183"/>
                </a:lnTo>
                <a:lnTo>
                  <a:pt x="330" y="183"/>
                </a:lnTo>
                <a:lnTo>
                  <a:pt x="330" y="176"/>
                </a:lnTo>
                <a:lnTo>
                  <a:pt x="328" y="167"/>
                </a:lnTo>
                <a:lnTo>
                  <a:pt x="321" y="152"/>
                </a:lnTo>
                <a:lnTo>
                  <a:pt x="321" y="152"/>
                </a:lnTo>
                <a:lnTo>
                  <a:pt x="332" y="150"/>
                </a:lnTo>
                <a:lnTo>
                  <a:pt x="332" y="150"/>
                </a:lnTo>
                <a:lnTo>
                  <a:pt x="337" y="152"/>
                </a:lnTo>
                <a:lnTo>
                  <a:pt x="345" y="154"/>
                </a:lnTo>
                <a:lnTo>
                  <a:pt x="350" y="158"/>
                </a:lnTo>
                <a:lnTo>
                  <a:pt x="355" y="161"/>
                </a:lnTo>
                <a:lnTo>
                  <a:pt x="359" y="167"/>
                </a:lnTo>
                <a:lnTo>
                  <a:pt x="363" y="172"/>
                </a:lnTo>
                <a:lnTo>
                  <a:pt x="364" y="178"/>
                </a:lnTo>
                <a:lnTo>
                  <a:pt x="364" y="185"/>
                </a:lnTo>
                <a:lnTo>
                  <a:pt x="364" y="248"/>
                </a:lnTo>
                <a:close/>
                <a:moveTo>
                  <a:pt x="96" y="60"/>
                </a:moveTo>
                <a:lnTo>
                  <a:pt x="96" y="60"/>
                </a:lnTo>
                <a:lnTo>
                  <a:pt x="89" y="62"/>
                </a:lnTo>
                <a:lnTo>
                  <a:pt x="83" y="63"/>
                </a:lnTo>
                <a:lnTo>
                  <a:pt x="78" y="65"/>
                </a:lnTo>
                <a:lnTo>
                  <a:pt x="74" y="69"/>
                </a:lnTo>
                <a:lnTo>
                  <a:pt x="71" y="74"/>
                </a:lnTo>
                <a:lnTo>
                  <a:pt x="67" y="80"/>
                </a:lnTo>
                <a:lnTo>
                  <a:pt x="65" y="85"/>
                </a:lnTo>
                <a:lnTo>
                  <a:pt x="65" y="91"/>
                </a:lnTo>
                <a:lnTo>
                  <a:pt x="65" y="91"/>
                </a:lnTo>
                <a:lnTo>
                  <a:pt x="65" y="98"/>
                </a:lnTo>
                <a:lnTo>
                  <a:pt x="67" y="103"/>
                </a:lnTo>
                <a:lnTo>
                  <a:pt x="71" y="109"/>
                </a:lnTo>
                <a:lnTo>
                  <a:pt x="74" y="112"/>
                </a:lnTo>
                <a:lnTo>
                  <a:pt x="78" y="116"/>
                </a:lnTo>
                <a:lnTo>
                  <a:pt x="83" y="120"/>
                </a:lnTo>
                <a:lnTo>
                  <a:pt x="89" y="121"/>
                </a:lnTo>
                <a:lnTo>
                  <a:pt x="96" y="121"/>
                </a:lnTo>
                <a:lnTo>
                  <a:pt x="96" y="121"/>
                </a:lnTo>
                <a:lnTo>
                  <a:pt x="102" y="121"/>
                </a:lnTo>
                <a:lnTo>
                  <a:pt x="107" y="120"/>
                </a:lnTo>
                <a:lnTo>
                  <a:pt x="112" y="116"/>
                </a:lnTo>
                <a:lnTo>
                  <a:pt x="118" y="112"/>
                </a:lnTo>
                <a:lnTo>
                  <a:pt x="122" y="109"/>
                </a:lnTo>
                <a:lnTo>
                  <a:pt x="123" y="103"/>
                </a:lnTo>
                <a:lnTo>
                  <a:pt x="125" y="98"/>
                </a:lnTo>
                <a:lnTo>
                  <a:pt x="127" y="91"/>
                </a:lnTo>
                <a:lnTo>
                  <a:pt x="127" y="91"/>
                </a:lnTo>
                <a:lnTo>
                  <a:pt x="125" y="85"/>
                </a:lnTo>
                <a:lnTo>
                  <a:pt x="123" y="80"/>
                </a:lnTo>
                <a:lnTo>
                  <a:pt x="122" y="74"/>
                </a:lnTo>
                <a:lnTo>
                  <a:pt x="118" y="69"/>
                </a:lnTo>
                <a:lnTo>
                  <a:pt x="112" y="65"/>
                </a:lnTo>
                <a:lnTo>
                  <a:pt x="107" y="63"/>
                </a:lnTo>
                <a:lnTo>
                  <a:pt x="102" y="62"/>
                </a:lnTo>
                <a:lnTo>
                  <a:pt x="96" y="60"/>
                </a:lnTo>
                <a:lnTo>
                  <a:pt x="96" y="60"/>
                </a:lnTo>
                <a:close/>
                <a:moveTo>
                  <a:pt x="35" y="150"/>
                </a:moveTo>
                <a:lnTo>
                  <a:pt x="35" y="150"/>
                </a:lnTo>
                <a:lnTo>
                  <a:pt x="44" y="152"/>
                </a:lnTo>
                <a:lnTo>
                  <a:pt x="44" y="152"/>
                </a:lnTo>
                <a:lnTo>
                  <a:pt x="38" y="167"/>
                </a:lnTo>
                <a:lnTo>
                  <a:pt x="36" y="176"/>
                </a:lnTo>
                <a:lnTo>
                  <a:pt x="35" y="183"/>
                </a:lnTo>
                <a:lnTo>
                  <a:pt x="35" y="248"/>
                </a:lnTo>
                <a:lnTo>
                  <a:pt x="0" y="248"/>
                </a:lnTo>
                <a:lnTo>
                  <a:pt x="0" y="185"/>
                </a:lnTo>
                <a:lnTo>
                  <a:pt x="0" y="185"/>
                </a:lnTo>
                <a:lnTo>
                  <a:pt x="0" y="178"/>
                </a:lnTo>
                <a:lnTo>
                  <a:pt x="2" y="172"/>
                </a:lnTo>
                <a:lnTo>
                  <a:pt x="6" y="167"/>
                </a:lnTo>
                <a:lnTo>
                  <a:pt x="9" y="161"/>
                </a:lnTo>
                <a:lnTo>
                  <a:pt x="15" y="158"/>
                </a:lnTo>
                <a:lnTo>
                  <a:pt x="20" y="154"/>
                </a:lnTo>
                <a:lnTo>
                  <a:pt x="27" y="152"/>
                </a:lnTo>
                <a:lnTo>
                  <a:pt x="35" y="150"/>
                </a:lnTo>
                <a:lnTo>
                  <a:pt x="35" y="150"/>
                </a:lnTo>
                <a:close/>
                <a:moveTo>
                  <a:pt x="183" y="0"/>
                </a:moveTo>
                <a:lnTo>
                  <a:pt x="183" y="0"/>
                </a:lnTo>
                <a:lnTo>
                  <a:pt x="174" y="0"/>
                </a:lnTo>
                <a:lnTo>
                  <a:pt x="165" y="4"/>
                </a:lnTo>
                <a:lnTo>
                  <a:pt x="158" y="7"/>
                </a:lnTo>
                <a:lnTo>
                  <a:pt x="151" y="13"/>
                </a:lnTo>
                <a:lnTo>
                  <a:pt x="145" y="20"/>
                </a:lnTo>
                <a:lnTo>
                  <a:pt x="141" y="27"/>
                </a:lnTo>
                <a:lnTo>
                  <a:pt x="138" y="36"/>
                </a:lnTo>
                <a:lnTo>
                  <a:pt x="138" y="45"/>
                </a:lnTo>
                <a:lnTo>
                  <a:pt x="138" y="45"/>
                </a:lnTo>
                <a:lnTo>
                  <a:pt x="138" y="54"/>
                </a:lnTo>
                <a:lnTo>
                  <a:pt x="141" y="62"/>
                </a:lnTo>
                <a:lnTo>
                  <a:pt x="145" y="71"/>
                </a:lnTo>
                <a:lnTo>
                  <a:pt x="151" y="76"/>
                </a:lnTo>
                <a:lnTo>
                  <a:pt x="158" y="81"/>
                </a:lnTo>
                <a:lnTo>
                  <a:pt x="165" y="87"/>
                </a:lnTo>
                <a:lnTo>
                  <a:pt x="174" y="89"/>
                </a:lnTo>
                <a:lnTo>
                  <a:pt x="183" y="91"/>
                </a:lnTo>
                <a:lnTo>
                  <a:pt x="183" y="91"/>
                </a:lnTo>
                <a:lnTo>
                  <a:pt x="192" y="89"/>
                </a:lnTo>
                <a:lnTo>
                  <a:pt x="200" y="87"/>
                </a:lnTo>
                <a:lnTo>
                  <a:pt x="209" y="81"/>
                </a:lnTo>
                <a:lnTo>
                  <a:pt x="214" y="76"/>
                </a:lnTo>
                <a:lnTo>
                  <a:pt x="219" y="71"/>
                </a:lnTo>
                <a:lnTo>
                  <a:pt x="225" y="62"/>
                </a:lnTo>
                <a:lnTo>
                  <a:pt x="227" y="54"/>
                </a:lnTo>
                <a:lnTo>
                  <a:pt x="229" y="45"/>
                </a:lnTo>
                <a:lnTo>
                  <a:pt x="229" y="45"/>
                </a:lnTo>
                <a:lnTo>
                  <a:pt x="227" y="36"/>
                </a:lnTo>
                <a:lnTo>
                  <a:pt x="225" y="27"/>
                </a:lnTo>
                <a:lnTo>
                  <a:pt x="219" y="20"/>
                </a:lnTo>
                <a:lnTo>
                  <a:pt x="214" y="13"/>
                </a:lnTo>
                <a:lnTo>
                  <a:pt x="209" y="7"/>
                </a:lnTo>
                <a:lnTo>
                  <a:pt x="200" y="4"/>
                </a:lnTo>
                <a:lnTo>
                  <a:pt x="192" y="0"/>
                </a:lnTo>
                <a:lnTo>
                  <a:pt x="183" y="0"/>
                </a:lnTo>
                <a:lnTo>
                  <a:pt x="183" y="0"/>
                </a:lnTo>
                <a:close/>
                <a:moveTo>
                  <a:pt x="319" y="272"/>
                </a:moveTo>
                <a:lnTo>
                  <a:pt x="265" y="272"/>
                </a:lnTo>
                <a:lnTo>
                  <a:pt x="265" y="174"/>
                </a:lnTo>
                <a:lnTo>
                  <a:pt x="265" y="174"/>
                </a:lnTo>
                <a:lnTo>
                  <a:pt x="265" y="163"/>
                </a:lnTo>
                <a:lnTo>
                  <a:pt x="263" y="154"/>
                </a:lnTo>
                <a:lnTo>
                  <a:pt x="259" y="145"/>
                </a:lnTo>
                <a:lnTo>
                  <a:pt x="256" y="136"/>
                </a:lnTo>
                <a:lnTo>
                  <a:pt x="256" y="136"/>
                </a:lnTo>
                <a:lnTo>
                  <a:pt x="263" y="134"/>
                </a:lnTo>
                <a:lnTo>
                  <a:pt x="270" y="134"/>
                </a:lnTo>
                <a:lnTo>
                  <a:pt x="270" y="134"/>
                </a:lnTo>
                <a:lnTo>
                  <a:pt x="279" y="136"/>
                </a:lnTo>
                <a:lnTo>
                  <a:pt x="288" y="138"/>
                </a:lnTo>
                <a:lnTo>
                  <a:pt x="297" y="143"/>
                </a:lnTo>
                <a:lnTo>
                  <a:pt x="305" y="149"/>
                </a:lnTo>
                <a:lnTo>
                  <a:pt x="310" y="156"/>
                </a:lnTo>
                <a:lnTo>
                  <a:pt x="316" y="165"/>
                </a:lnTo>
                <a:lnTo>
                  <a:pt x="317" y="174"/>
                </a:lnTo>
                <a:lnTo>
                  <a:pt x="319" y="183"/>
                </a:lnTo>
                <a:lnTo>
                  <a:pt x="319" y="272"/>
                </a:lnTo>
                <a:close/>
                <a:moveTo>
                  <a:pt x="100" y="174"/>
                </a:moveTo>
                <a:lnTo>
                  <a:pt x="100" y="272"/>
                </a:lnTo>
                <a:lnTo>
                  <a:pt x="45" y="272"/>
                </a:lnTo>
                <a:lnTo>
                  <a:pt x="45" y="183"/>
                </a:lnTo>
                <a:lnTo>
                  <a:pt x="45" y="183"/>
                </a:lnTo>
                <a:lnTo>
                  <a:pt x="47" y="174"/>
                </a:lnTo>
                <a:lnTo>
                  <a:pt x="51" y="165"/>
                </a:lnTo>
                <a:lnTo>
                  <a:pt x="54" y="156"/>
                </a:lnTo>
                <a:lnTo>
                  <a:pt x="60" y="149"/>
                </a:lnTo>
                <a:lnTo>
                  <a:pt x="67" y="143"/>
                </a:lnTo>
                <a:lnTo>
                  <a:pt x="76" y="138"/>
                </a:lnTo>
                <a:lnTo>
                  <a:pt x="85" y="136"/>
                </a:lnTo>
                <a:lnTo>
                  <a:pt x="96" y="134"/>
                </a:lnTo>
                <a:lnTo>
                  <a:pt x="96" y="134"/>
                </a:lnTo>
                <a:lnTo>
                  <a:pt x="103" y="134"/>
                </a:lnTo>
                <a:lnTo>
                  <a:pt x="109" y="136"/>
                </a:lnTo>
                <a:lnTo>
                  <a:pt x="109" y="136"/>
                </a:lnTo>
                <a:lnTo>
                  <a:pt x="105" y="145"/>
                </a:lnTo>
                <a:lnTo>
                  <a:pt x="102" y="154"/>
                </a:lnTo>
                <a:lnTo>
                  <a:pt x="100" y="163"/>
                </a:lnTo>
                <a:lnTo>
                  <a:pt x="100" y="174"/>
                </a:lnTo>
                <a:lnTo>
                  <a:pt x="100" y="174"/>
                </a:lnTo>
                <a:close/>
                <a:moveTo>
                  <a:pt x="111" y="301"/>
                </a:moveTo>
                <a:lnTo>
                  <a:pt x="254" y="301"/>
                </a:lnTo>
                <a:lnTo>
                  <a:pt x="254" y="174"/>
                </a:lnTo>
                <a:lnTo>
                  <a:pt x="254" y="174"/>
                </a:lnTo>
                <a:lnTo>
                  <a:pt x="252" y="159"/>
                </a:lnTo>
                <a:lnTo>
                  <a:pt x="248" y="145"/>
                </a:lnTo>
                <a:lnTo>
                  <a:pt x="241" y="134"/>
                </a:lnTo>
                <a:lnTo>
                  <a:pt x="232" y="123"/>
                </a:lnTo>
                <a:lnTo>
                  <a:pt x="223" y="114"/>
                </a:lnTo>
                <a:lnTo>
                  <a:pt x="210" y="109"/>
                </a:lnTo>
                <a:lnTo>
                  <a:pt x="198" y="103"/>
                </a:lnTo>
                <a:lnTo>
                  <a:pt x="183" y="101"/>
                </a:lnTo>
                <a:lnTo>
                  <a:pt x="183" y="101"/>
                </a:lnTo>
                <a:lnTo>
                  <a:pt x="169" y="103"/>
                </a:lnTo>
                <a:lnTo>
                  <a:pt x="154" y="109"/>
                </a:lnTo>
                <a:lnTo>
                  <a:pt x="143" y="114"/>
                </a:lnTo>
                <a:lnTo>
                  <a:pt x="132" y="123"/>
                </a:lnTo>
                <a:lnTo>
                  <a:pt x="123" y="134"/>
                </a:lnTo>
                <a:lnTo>
                  <a:pt x="116" y="145"/>
                </a:lnTo>
                <a:lnTo>
                  <a:pt x="112" y="159"/>
                </a:lnTo>
                <a:lnTo>
                  <a:pt x="111" y="174"/>
                </a:lnTo>
                <a:lnTo>
                  <a:pt x="111" y="301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74" name="Freeform 63">
            <a:extLst>
              <a:ext uri="{FF2B5EF4-FFF2-40B4-BE49-F238E27FC236}">
                <a16:creationId xmlns:a16="http://schemas.microsoft.com/office/drawing/2014/main" id="{28CCFD1F-E6BD-4F95-9AAC-5E2CB4993007}"/>
              </a:ext>
            </a:extLst>
          </p:cNvPr>
          <p:cNvSpPr>
            <a:spLocks noEditPoints="1"/>
          </p:cNvSpPr>
          <p:nvPr/>
        </p:nvSpPr>
        <p:spPr bwMode="auto">
          <a:xfrm>
            <a:off x="5094713" y="2876106"/>
            <a:ext cx="272788" cy="183501"/>
          </a:xfrm>
          <a:custGeom>
            <a:avLst/>
            <a:gdLst/>
            <a:ahLst/>
            <a:cxnLst>
              <a:cxn ang="0">
                <a:pos x="15" y="2"/>
              </a:cxn>
              <a:cxn ang="0">
                <a:pos x="0" y="4"/>
              </a:cxn>
              <a:cxn ang="0">
                <a:pos x="0" y="62"/>
              </a:cxn>
              <a:cxn ang="0">
                <a:pos x="9" y="71"/>
              </a:cxn>
              <a:cxn ang="0">
                <a:pos x="53" y="45"/>
              </a:cxn>
              <a:cxn ang="0">
                <a:pos x="58" y="31"/>
              </a:cxn>
              <a:cxn ang="0">
                <a:pos x="307" y="11"/>
              </a:cxn>
              <a:cxn ang="0">
                <a:pos x="95" y="11"/>
              </a:cxn>
              <a:cxn ang="0">
                <a:pos x="85" y="27"/>
              </a:cxn>
              <a:cxn ang="0">
                <a:pos x="85" y="51"/>
              </a:cxn>
              <a:cxn ang="0">
                <a:pos x="102" y="62"/>
              </a:cxn>
              <a:cxn ang="0">
                <a:pos x="314" y="60"/>
              </a:cxn>
              <a:cxn ang="0">
                <a:pos x="323" y="43"/>
              </a:cxn>
              <a:cxn ang="0">
                <a:pos x="323" y="20"/>
              </a:cxn>
              <a:cxn ang="0">
                <a:pos x="307" y="11"/>
              </a:cxn>
              <a:cxn ang="0">
                <a:pos x="53" y="147"/>
              </a:cxn>
              <a:cxn ang="0">
                <a:pos x="60" y="138"/>
              </a:cxn>
              <a:cxn ang="0">
                <a:pos x="15" y="112"/>
              </a:cxn>
              <a:cxn ang="0">
                <a:pos x="4" y="111"/>
              </a:cxn>
              <a:cxn ang="0">
                <a:pos x="0" y="163"/>
              </a:cxn>
              <a:cxn ang="0">
                <a:pos x="4" y="172"/>
              </a:cxn>
              <a:cxn ang="0">
                <a:pos x="15" y="172"/>
              </a:cxn>
              <a:cxn ang="0">
                <a:pos x="102" y="112"/>
              </a:cxn>
              <a:cxn ang="0">
                <a:pos x="85" y="123"/>
              </a:cxn>
              <a:cxn ang="0">
                <a:pos x="85" y="147"/>
              </a:cxn>
              <a:cxn ang="0">
                <a:pos x="95" y="163"/>
              </a:cxn>
              <a:cxn ang="0">
                <a:pos x="307" y="163"/>
              </a:cxn>
              <a:cxn ang="0">
                <a:pos x="323" y="154"/>
              </a:cxn>
              <a:cxn ang="0">
                <a:pos x="323" y="129"/>
              </a:cxn>
              <a:cxn ang="0">
                <a:pos x="314" y="114"/>
              </a:cxn>
              <a:cxn ang="0">
                <a:pos x="53" y="232"/>
              </a:cxn>
              <a:cxn ang="0">
                <a:pos x="9" y="205"/>
              </a:cxn>
              <a:cxn ang="0">
                <a:pos x="0" y="214"/>
              </a:cxn>
              <a:cxn ang="0">
                <a:pos x="0" y="272"/>
              </a:cxn>
              <a:cxn ang="0">
                <a:pos x="15" y="274"/>
              </a:cxn>
              <a:cxn ang="0">
                <a:pos x="58" y="245"/>
              </a:cxn>
              <a:cxn ang="0">
                <a:pos x="53" y="232"/>
              </a:cxn>
              <a:cxn ang="0">
                <a:pos x="102" y="214"/>
              </a:cxn>
              <a:cxn ang="0">
                <a:pos x="91" y="219"/>
              </a:cxn>
              <a:cxn ang="0">
                <a:pos x="85" y="248"/>
              </a:cxn>
              <a:cxn ang="0">
                <a:pos x="91" y="261"/>
              </a:cxn>
              <a:cxn ang="0">
                <a:pos x="307" y="266"/>
              </a:cxn>
              <a:cxn ang="0">
                <a:pos x="319" y="261"/>
              </a:cxn>
              <a:cxn ang="0">
                <a:pos x="323" y="232"/>
              </a:cxn>
              <a:cxn ang="0">
                <a:pos x="319" y="219"/>
              </a:cxn>
              <a:cxn ang="0">
                <a:pos x="307" y="214"/>
              </a:cxn>
            </a:cxnLst>
            <a:rect l="0" t="0" r="r" b="b"/>
            <a:pathLst>
              <a:path w="323" h="275">
                <a:moveTo>
                  <a:pt x="53" y="27"/>
                </a:moveTo>
                <a:lnTo>
                  <a:pt x="15" y="2"/>
                </a:lnTo>
                <a:lnTo>
                  <a:pt x="15" y="2"/>
                </a:lnTo>
                <a:lnTo>
                  <a:pt x="9" y="0"/>
                </a:lnTo>
                <a:lnTo>
                  <a:pt x="4" y="0"/>
                </a:lnTo>
                <a:lnTo>
                  <a:pt x="0" y="4"/>
                </a:lnTo>
                <a:lnTo>
                  <a:pt x="0" y="11"/>
                </a:lnTo>
                <a:lnTo>
                  <a:pt x="0" y="62"/>
                </a:lnTo>
                <a:lnTo>
                  <a:pt x="0" y="62"/>
                </a:lnTo>
                <a:lnTo>
                  <a:pt x="0" y="67"/>
                </a:lnTo>
                <a:lnTo>
                  <a:pt x="4" y="71"/>
                </a:lnTo>
                <a:lnTo>
                  <a:pt x="9" y="71"/>
                </a:lnTo>
                <a:lnTo>
                  <a:pt x="15" y="69"/>
                </a:lnTo>
                <a:lnTo>
                  <a:pt x="53" y="45"/>
                </a:lnTo>
                <a:lnTo>
                  <a:pt x="53" y="45"/>
                </a:lnTo>
                <a:lnTo>
                  <a:pt x="58" y="40"/>
                </a:lnTo>
                <a:lnTo>
                  <a:pt x="60" y="36"/>
                </a:lnTo>
                <a:lnTo>
                  <a:pt x="58" y="31"/>
                </a:lnTo>
                <a:lnTo>
                  <a:pt x="53" y="27"/>
                </a:lnTo>
                <a:lnTo>
                  <a:pt x="53" y="27"/>
                </a:lnTo>
                <a:close/>
                <a:moveTo>
                  <a:pt x="307" y="11"/>
                </a:moveTo>
                <a:lnTo>
                  <a:pt x="102" y="11"/>
                </a:lnTo>
                <a:lnTo>
                  <a:pt x="102" y="11"/>
                </a:lnTo>
                <a:lnTo>
                  <a:pt x="95" y="11"/>
                </a:lnTo>
                <a:lnTo>
                  <a:pt x="91" y="14"/>
                </a:lnTo>
                <a:lnTo>
                  <a:pt x="85" y="20"/>
                </a:lnTo>
                <a:lnTo>
                  <a:pt x="85" y="27"/>
                </a:lnTo>
                <a:lnTo>
                  <a:pt x="85" y="43"/>
                </a:lnTo>
                <a:lnTo>
                  <a:pt x="85" y="43"/>
                </a:lnTo>
                <a:lnTo>
                  <a:pt x="85" y="51"/>
                </a:lnTo>
                <a:lnTo>
                  <a:pt x="91" y="56"/>
                </a:lnTo>
                <a:lnTo>
                  <a:pt x="95" y="60"/>
                </a:lnTo>
                <a:lnTo>
                  <a:pt x="102" y="62"/>
                </a:lnTo>
                <a:lnTo>
                  <a:pt x="307" y="62"/>
                </a:lnTo>
                <a:lnTo>
                  <a:pt x="307" y="62"/>
                </a:lnTo>
                <a:lnTo>
                  <a:pt x="314" y="60"/>
                </a:lnTo>
                <a:lnTo>
                  <a:pt x="319" y="56"/>
                </a:lnTo>
                <a:lnTo>
                  <a:pt x="323" y="51"/>
                </a:lnTo>
                <a:lnTo>
                  <a:pt x="323" y="43"/>
                </a:lnTo>
                <a:lnTo>
                  <a:pt x="323" y="27"/>
                </a:lnTo>
                <a:lnTo>
                  <a:pt x="323" y="27"/>
                </a:lnTo>
                <a:lnTo>
                  <a:pt x="323" y="20"/>
                </a:lnTo>
                <a:lnTo>
                  <a:pt x="319" y="14"/>
                </a:lnTo>
                <a:lnTo>
                  <a:pt x="314" y="11"/>
                </a:lnTo>
                <a:lnTo>
                  <a:pt x="307" y="11"/>
                </a:lnTo>
                <a:lnTo>
                  <a:pt x="307" y="11"/>
                </a:lnTo>
                <a:close/>
                <a:moveTo>
                  <a:pt x="15" y="172"/>
                </a:moveTo>
                <a:lnTo>
                  <a:pt x="53" y="147"/>
                </a:lnTo>
                <a:lnTo>
                  <a:pt x="53" y="147"/>
                </a:lnTo>
                <a:lnTo>
                  <a:pt x="58" y="143"/>
                </a:lnTo>
                <a:lnTo>
                  <a:pt x="60" y="138"/>
                </a:lnTo>
                <a:lnTo>
                  <a:pt x="58" y="134"/>
                </a:lnTo>
                <a:lnTo>
                  <a:pt x="53" y="130"/>
                </a:lnTo>
                <a:lnTo>
                  <a:pt x="15" y="112"/>
                </a:lnTo>
                <a:lnTo>
                  <a:pt x="15" y="112"/>
                </a:lnTo>
                <a:lnTo>
                  <a:pt x="9" y="111"/>
                </a:lnTo>
                <a:lnTo>
                  <a:pt x="4" y="111"/>
                </a:lnTo>
                <a:lnTo>
                  <a:pt x="0" y="114"/>
                </a:lnTo>
                <a:lnTo>
                  <a:pt x="0" y="121"/>
                </a:lnTo>
                <a:lnTo>
                  <a:pt x="0" y="163"/>
                </a:lnTo>
                <a:lnTo>
                  <a:pt x="0" y="163"/>
                </a:lnTo>
                <a:lnTo>
                  <a:pt x="0" y="170"/>
                </a:lnTo>
                <a:lnTo>
                  <a:pt x="4" y="172"/>
                </a:lnTo>
                <a:lnTo>
                  <a:pt x="9" y="174"/>
                </a:lnTo>
                <a:lnTo>
                  <a:pt x="15" y="172"/>
                </a:lnTo>
                <a:lnTo>
                  <a:pt x="15" y="172"/>
                </a:lnTo>
                <a:close/>
                <a:moveTo>
                  <a:pt x="307" y="112"/>
                </a:moveTo>
                <a:lnTo>
                  <a:pt x="102" y="112"/>
                </a:lnTo>
                <a:lnTo>
                  <a:pt x="102" y="112"/>
                </a:lnTo>
                <a:lnTo>
                  <a:pt x="95" y="114"/>
                </a:lnTo>
                <a:lnTo>
                  <a:pt x="91" y="118"/>
                </a:lnTo>
                <a:lnTo>
                  <a:pt x="85" y="123"/>
                </a:lnTo>
                <a:lnTo>
                  <a:pt x="85" y="129"/>
                </a:lnTo>
                <a:lnTo>
                  <a:pt x="85" y="147"/>
                </a:lnTo>
                <a:lnTo>
                  <a:pt x="85" y="147"/>
                </a:lnTo>
                <a:lnTo>
                  <a:pt x="85" y="154"/>
                </a:lnTo>
                <a:lnTo>
                  <a:pt x="91" y="159"/>
                </a:lnTo>
                <a:lnTo>
                  <a:pt x="95" y="163"/>
                </a:lnTo>
                <a:lnTo>
                  <a:pt x="102" y="163"/>
                </a:lnTo>
                <a:lnTo>
                  <a:pt x="307" y="163"/>
                </a:lnTo>
                <a:lnTo>
                  <a:pt x="307" y="163"/>
                </a:lnTo>
                <a:lnTo>
                  <a:pt x="314" y="163"/>
                </a:lnTo>
                <a:lnTo>
                  <a:pt x="319" y="159"/>
                </a:lnTo>
                <a:lnTo>
                  <a:pt x="323" y="154"/>
                </a:lnTo>
                <a:lnTo>
                  <a:pt x="323" y="147"/>
                </a:lnTo>
                <a:lnTo>
                  <a:pt x="323" y="129"/>
                </a:lnTo>
                <a:lnTo>
                  <a:pt x="323" y="129"/>
                </a:lnTo>
                <a:lnTo>
                  <a:pt x="323" y="123"/>
                </a:lnTo>
                <a:lnTo>
                  <a:pt x="319" y="118"/>
                </a:lnTo>
                <a:lnTo>
                  <a:pt x="314" y="114"/>
                </a:lnTo>
                <a:lnTo>
                  <a:pt x="307" y="112"/>
                </a:lnTo>
                <a:lnTo>
                  <a:pt x="307" y="112"/>
                </a:lnTo>
                <a:close/>
                <a:moveTo>
                  <a:pt x="53" y="232"/>
                </a:moveTo>
                <a:lnTo>
                  <a:pt x="15" y="207"/>
                </a:lnTo>
                <a:lnTo>
                  <a:pt x="15" y="207"/>
                </a:lnTo>
                <a:lnTo>
                  <a:pt x="9" y="205"/>
                </a:lnTo>
                <a:lnTo>
                  <a:pt x="4" y="205"/>
                </a:lnTo>
                <a:lnTo>
                  <a:pt x="0" y="208"/>
                </a:lnTo>
                <a:lnTo>
                  <a:pt x="0" y="214"/>
                </a:lnTo>
                <a:lnTo>
                  <a:pt x="0" y="266"/>
                </a:lnTo>
                <a:lnTo>
                  <a:pt x="0" y="266"/>
                </a:lnTo>
                <a:lnTo>
                  <a:pt x="0" y="272"/>
                </a:lnTo>
                <a:lnTo>
                  <a:pt x="4" y="275"/>
                </a:lnTo>
                <a:lnTo>
                  <a:pt x="9" y="275"/>
                </a:lnTo>
                <a:lnTo>
                  <a:pt x="15" y="274"/>
                </a:lnTo>
                <a:lnTo>
                  <a:pt x="53" y="250"/>
                </a:lnTo>
                <a:lnTo>
                  <a:pt x="53" y="250"/>
                </a:lnTo>
                <a:lnTo>
                  <a:pt x="58" y="245"/>
                </a:lnTo>
                <a:lnTo>
                  <a:pt x="60" y="241"/>
                </a:lnTo>
                <a:lnTo>
                  <a:pt x="58" y="236"/>
                </a:lnTo>
                <a:lnTo>
                  <a:pt x="53" y="232"/>
                </a:lnTo>
                <a:lnTo>
                  <a:pt x="53" y="232"/>
                </a:lnTo>
                <a:close/>
                <a:moveTo>
                  <a:pt x="307" y="214"/>
                </a:moveTo>
                <a:lnTo>
                  <a:pt x="102" y="214"/>
                </a:lnTo>
                <a:lnTo>
                  <a:pt x="102" y="214"/>
                </a:lnTo>
                <a:lnTo>
                  <a:pt x="95" y="216"/>
                </a:lnTo>
                <a:lnTo>
                  <a:pt x="91" y="219"/>
                </a:lnTo>
                <a:lnTo>
                  <a:pt x="85" y="225"/>
                </a:lnTo>
                <a:lnTo>
                  <a:pt x="85" y="232"/>
                </a:lnTo>
                <a:lnTo>
                  <a:pt x="85" y="248"/>
                </a:lnTo>
                <a:lnTo>
                  <a:pt x="85" y="248"/>
                </a:lnTo>
                <a:lnTo>
                  <a:pt x="85" y="256"/>
                </a:lnTo>
                <a:lnTo>
                  <a:pt x="91" y="261"/>
                </a:lnTo>
                <a:lnTo>
                  <a:pt x="95" y="265"/>
                </a:lnTo>
                <a:lnTo>
                  <a:pt x="102" y="266"/>
                </a:lnTo>
                <a:lnTo>
                  <a:pt x="307" y="266"/>
                </a:lnTo>
                <a:lnTo>
                  <a:pt x="307" y="266"/>
                </a:lnTo>
                <a:lnTo>
                  <a:pt x="314" y="265"/>
                </a:lnTo>
                <a:lnTo>
                  <a:pt x="319" y="261"/>
                </a:lnTo>
                <a:lnTo>
                  <a:pt x="323" y="256"/>
                </a:lnTo>
                <a:lnTo>
                  <a:pt x="323" y="248"/>
                </a:lnTo>
                <a:lnTo>
                  <a:pt x="323" y="232"/>
                </a:lnTo>
                <a:lnTo>
                  <a:pt x="323" y="232"/>
                </a:lnTo>
                <a:lnTo>
                  <a:pt x="323" y="225"/>
                </a:lnTo>
                <a:lnTo>
                  <a:pt x="319" y="219"/>
                </a:lnTo>
                <a:lnTo>
                  <a:pt x="314" y="216"/>
                </a:lnTo>
                <a:lnTo>
                  <a:pt x="307" y="214"/>
                </a:lnTo>
                <a:lnTo>
                  <a:pt x="307" y="21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175" name="Freeform 100">
            <a:extLst>
              <a:ext uri="{FF2B5EF4-FFF2-40B4-BE49-F238E27FC236}">
                <a16:creationId xmlns:a16="http://schemas.microsoft.com/office/drawing/2014/main" id="{C622E7D5-5374-44FE-8638-1CCAD79FF6A0}"/>
              </a:ext>
            </a:extLst>
          </p:cNvPr>
          <p:cNvSpPr>
            <a:spLocks/>
          </p:cNvSpPr>
          <p:nvPr/>
        </p:nvSpPr>
        <p:spPr bwMode="auto">
          <a:xfrm>
            <a:off x="8420555" y="3589805"/>
            <a:ext cx="248404" cy="271674"/>
          </a:xfrm>
          <a:custGeom>
            <a:avLst/>
            <a:gdLst/>
            <a:ahLst/>
            <a:cxnLst>
              <a:cxn ang="0">
                <a:pos x="230" y="212"/>
              </a:cxn>
              <a:cxn ang="0">
                <a:pos x="212" y="216"/>
              </a:cxn>
              <a:cxn ang="0">
                <a:pos x="197" y="223"/>
              </a:cxn>
              <a:cxn ang="0">
                <a:pos x="105" y="169"/>
              </a:cxn>
              <a:cxn ang="0">
                <a:pos x="105" y="160"/>
              </a:cxn>
              <a:cxn ang="0">
                <a:pos x="197" y="96"/>
              </a:cxn>
              <a:cxn ang="0">
                <a:pos x="204" y="100"/>
              </a:cxn>
              <a:cxn ang="0">
                <a:pos x="221" y="105"/>
              </a:cxn>
              <a:cxn ang="0">
                <a:pos x="230" y="107"/>
              </a:cxn>
              <a:cxn ang="0">
                <a:pos x="250" y="102"/>
              </a:cxn>
              <a:cxn ang="0">
                <a:pos x="266" y="91"/>
              </a:cxn>
              <a:cxn ang="0">
                <a:pos x="277" y="75"/>
              </a:cxn>
              <a:cxn ang="0">
                <a:pos x="282" y="53"/>
              </a:cxn>
              <a:cxn ang="0">
                <a:pos x="281" y="44"/>
              </a:cxn>
              <a:cxn ang="0">
                <a:pos x="273" y="24"/>
              </a:cxn>
              <a:cxn ang="0">
                <a:pos x="259" y="9"/>
              </a:cxn>
              <a:cxn ang="0">
                <a:pos x="239" y="2"/>
              </a:cxn>
              <a:cxn ang="0">
                <a:pos x="230" y="0"/>
              </a:cxn>
              <a:cxn ang="0">
                <a:pos x="208" y="4"/>
              </a:cxn>
              <a:cxn ang="0">
                <a:pos x="192" y="17"/>
              </a:cxn>
              <a:cxn ang="0">
                <a:pos x="181" y="33"/>
              </a:cxn>
              <a:cxn ang="0">
                <a:pos x="175" y="53"/>
              </a:cxn>
              <a:cxn ang="0">
                <a:pos x="177" y="62"/>
              </a:cxn>
              <a:cxn ang="0">
                <a:pos x="85" y="118"/>
              </a:cxn>
              <a:cxn ang="0">
                <a:pos x="68" y="109"/>
              </a:cxn>
              <a:cxn ang="0">
                <a:pos x="52" y="107"/>
              </a:cxn>
              <a:cxn ang="0">
                <a:pos x="41" y="107"/>
              </a:cxn>
              <a:cxn ang="0">
                <a:pos x="23" y="116"/>
              </a:cxn>
              <a:cxn ang="0">
                <a:pos x="9" y="131"/>
              </a:cxn>
              <a:cxn ang="0">
                <a:pos x="0" y="149"/>
              </a:cxn>
              <a:cxn ang="0">
                <a:pos x="0" y="160"/>
              </a:cxn>
              <a:cxn ang="0">
                <a:pos x="3" y="180"/>
              </a:cxn>
              <a:cxn ang="0">
                <a:pos x="14" y="198"/>
              </a:cxn>
              <a:cxn ang="0">
                <a:pos x="30" y="209"/>
              </a:cxn>
              <a:cxn ang="0">
                <a:pos x="52" y="212"/>
              </a:cxn>
              <a:cxn ang="0">
                <a:pos x="61" y="212"/>
              </a:cxn>
              <a:cxn ang="0">
                <a:pos x="78" y="207"/>
              </a:cxn>
              <a:cxn ang="0">
                <a:pos x="177" y="258"/>
              </a:cxn>
              <a:cxn ang="0">
                <a:pos x="175" y="267"/>
              </a:cxn>
              <a:cxn ang="0">
                <a:pos x="177" y="278"/>
              </a:cxn>
              <a:cxn ang="0">
                <a:pos x="184" y="296"/>
              </a:cxn>
              <a:cxn ang="0">
                <a:pos x="199" y="310"/>
              </a:cxn>
              <a:cxn ang="0">
                <a:pos x="219" y="318"/>
              </a:cxn>
              <a:cxn ang="0">
                <a:pos x="230" y="319"/>
              </a:cxn>
              <a:cxn ang="0">
                <a:pos x="250" y="316"/>
              </a:cxn>
              <a:cxn ang="0">
                <a:pos x="266" y="303"/>
              </a:cxn>
              <a:cxn ang="0">
                <a:pos x="277" y="287"/>
              </a:cxn>
              <a:cxn ang="0">
                <a:pos x="282" y="267"/>
              </a:cxn>
              <a:cxn ang="0">
                <a:pos x="281" y="256"/>
              </a:cxn>
              <a:cxn ang="0">
                <a:pos x="273" y="236"/>
              </a:cxn>
              <a:cxn ang="0">
                <a:pos x="259" y="221"/>
              </a:cxn>
              <a:cxn ang="0">
                <a:pos x="239" y="214"/>
              </a:cxn>
              <a:cxn ang="0">
                <a:pos x="230" y="212"/>
              </a:cxn>
            </a:cxnLst>
            <a:rect l="0" t="0" r="r" b="b"/>
            <a:pathLst>
              <a:path w="282" h="319">
                <a:moveTo>
                  <a:pt x="230" y="212"/>
                </a:moveTo>
                <a:lnTo>
                  <a:pt x="230" y="212"/>
                </a:lnTo>
                <a:lnTo>
                  <a:pt x="221" y="214"/>
                </a:lnTo>
                <a:lnTo>
                  <a:pt x="212" y="216"/>
                </a:lnTo>
                <a:lnTo>
                  <a:pt x="204" y="220"/>
                </a:lnTo>
                <a:lnTo>
                  <a:pt x="197" y="223"/>
                </a:lnTo>
                <a:lnTo>
                  <a:pt x="105" y="169"/>
                </a:lnTo>
                <a:lnTo>
                  <a:pt x="105" y="169"/>
                </a:lnTo>
                <a:lnTo>
                  <a:pt x="105" y="160"/>
                </a:lnTo>
                <a:lnTo>
                  <a:pt x="105" y="160"/>
                </a:lnTo>
                <a:lnTo>
                  <a:pt x="105" y="151"/>
                </a:lnTo>
                <a:lnTo>
                  <a:pt x="197" y="96"/>
                </a:lnTo>
                <a:lnTo>
                  <a:pt x="197" y="96"/>
                </a:lnTo>
                <a:lnTo>
                  <a:pt x="204" y="100"/>
                </a:lnTo>
                <a:lnTo>
                  <a:pt x="212" y="104"/>
                </a:lnTo>
                <a:lnTo>
                  <a:pt x="221" y="105"/>
                </a:lnTo>
                <a:lnTo>
                  <a:pt x="230" y="107"/>
                </a:lnTo>
                <a:lnTo>
                  <a:pt x="230" y="107"/>
                </a:lnTo>
                <a:lnTo>
                  <a:pt x="239" y="105"/>
                </a:lnTo>
                <a:lnTo>
                  <a:pt x="250" y="102"/>
                </a:lnTo>
                <a:lnTo>
                  <a:pt x="259" y="98"/>
                </a:lnTo>
                <a:lnTo>
                  <a:pt x="266" y="91"/>
                </a:lnTo>
                <a:lnTo>
                  <a:pt x="273" y="84"/>
                </a:lnTo>
                <a:lnTo>
                  <a:pt x="277" y="75"/>
                </a:lnTo>
                <a:lnTo>
                  <a:pt x="281" y="64"/>
                </a:lnTo>
                <a:lnTo>
                  <a:pt x="282" y="53"/>
                </a:lnTo>
                <a:lnTo>
                  <a:pt x="282" y="53"/>
                </a:lnTo>
                <a:lnTo>
                  <a:pt x="281" y="44"/>
                </a:lnTo>
                <a:lnTo>
                  <a:pt x="277" y="33"/>
                </a:lnTo>
                <a:lnTo>
                  <a:pt x="273" y="24"/>
                </a:lnTo>
                <a:lnTo>
                  <a:pt x="266" y="17"/>
                </a:lnTo>
                <a:lnTo>
                  <a:pt x="259" y="9"/>
                </a:lnTo>
                <a:lnTo>
                  <a:pt x="250" y="4"/>
                </a:lnTo>
                <a:lnTo>
                  <a:pt x="239" y="2"/>
                </a:lnTo>
                <a:lnTo>
                  <a:pt x="230" y="0"/>
                </a:lnTo>
                <a:lnTo>
                  <a:pt x="230" y="0"/>
                </a:lnTo>
                <a:lnTo>
                  <a:pt x="219" y="2"/>
                </a:lnTo>
                <a:lnTo>
                  <a:pt x="208" y="4"/>
                </a:lnTo>
                <a:lnTo>
                  <a:pt x="199" y="9"/>
                </a:lnTo>
                <a:lnTo>
                  <a:pt x="192" y="17"/>
                </a:lnTo>
                <a:lnTo>
                  <a:pt x="184" y="24"/>
                </a:lnTo>
                <a:lnTo>
                  <a:pt x="181" y="33"/>
                </a:lnTo>
                <a:lnTo>
                  <a:pt x="177" y="44"/>
                </a:lnTo>
                <a:lnTo>
                  <a:pt x="175" y="53"/>
                </a:lnTo>
                <a:lnTo>
                  <a:pt x="175" y="53"/>
                </a:lnTo>
                <a:lnTo>
                  <a:pt x="177" y="62"/>
                </a:lnTo>
                <a:lnTo>
                  <a:pt x="85" y="118"/>
                </a:lnTo>
                <a:lnTo>
                  <a:pt x="85" y="118"/>
                </a:lnTo>
                <a:lnTo>
                  <a:pt x="78" y="113"/>
                </a:lnTo>
                <a:lnTo>
                  <a:pt x="68" y="109"/>
                </a:lnTo>
                <a:lnTo>
                  <a:pt x="61" y="107"/>
                </a:lnTo>
                <a:lnTo>
                  <a:pt x="52" y="107"/>
                </a:lnTo>
                <a:lnTo>
                  <a:pt x="52" y="107"/>
                </a:lnTo>
                <a:lnTo>
                  <a:pt x="41" y="107"/>
                </a:lnTo>
                <a:lnTo>
                  <a:pt x="30" y="111"/>
                </a:lnTo>
                <a:lnTo>
                  <a:pt x="23" y="116"/>
                </a:lnTo>
                <a:lnTo>
                  <a:pt x="14" y="122"/>
                </a:lnTo>
                <a:lnTo>
                  <a:pt x="9" y="131"/>
                </a:lnTo>
                <a:lnTo>
                  <a:pt x="3" y="140"/>
                </a:lnTo>
                <a:lnTo>
                  <a:pt x="0" y="149"/>
                </a:lnTo>
                <a:lnTo>
                  <a:pt x="0" y="160"/>
                </a:lnTo>
                <a:lnTo>
                  <a:pt x="0" y="160"/>
                </a:lnTo>
                <a:lnTo>
                  <a:pt x="0" y="171"/>
                </a:lnTo>
                <a:lnTo>
                  <a:pt x="3" y="180"/>
                </a:lnTo>
                <a:lnTo>
                  <a:pt x="9" y="189"/>
                </a:lnTo>
                <a:lnTo>
                  <a:pt x="14" y="198"/>
                </a:lnTo>
                <a:lnTo>
                  <a:pt x="23" y="203"/>
                </a:lnTo>
                <a:lnTo>
                  <a:pt x="30" y="209"/>
                </a:lnTo>
                <a:lnTo>
                  <a:pt x="41" y="212"/>
                </a:lnTo>
                <a:lnTo>
                  <a:pt x="52" y="212"/>
                </a:lnTo>
                <a:lnTo>
                  <a:pt x="52" y="212"/>
                </a:lnTo>
                <a:lnTo>
                  <a:pt x="61" y="212"/>
                </a:lnTo>
                <a:lnTo>
                  <a:pt x="68" y="211"/>
                </a:lnTo>
                <a:lnTo>
                  <a:pt x="78" y="207"/>
                </a:lnTo>
                <a:lnTo>
                  <a:pt x="85" y="202"/>
                </a:lnTo>
                <a:lnTo>
                  <a:pt x="177" y="258"/>
                </a:lnTo>
                <a:lnTo>
                  <a:pt x="177" y="258"/>
                </a:lnTo>
                <a:lnTo>
                  <a:pt x="175" y="267"/>
                </a:lnTo>
                <a:lnTo>
                  <a:pt x="175" y="267"/>
                </a:lnTo>
                <a:lnTo>
                  <a:pt x="177" y="278"/>
                </a:lnTo>
                <a:lnTo>
                  <a:pt x="181" y="287"/>
                </a:lnTo>
                <a:lnTo>
                  <a:pt x="184" y="296"/>
                </a:lnTo>
                <a:lnTo>
                  <a:pt x="192" y="303"/>
                </a:lnTo>
                <a:lnTo>
                  <a:pt x="199" y="310"/>
                </a:lnTo>
                <a:lnTo>
                  <a:pt x="208" y="316"/>
                </a:lnTo>
                <a:lnTo>
                  <a:pt x="219" y="318"/>
                </a:lnTo>
                <a:lnTo>
                  <a:pt x="230" y="319"/>
                </a:lnTo>
                <a:lnTo>
                  <a:pt x="230" y="319"/>
                </a:lnTo>
                <a:lnTo>
                  <a:pt x="239" y="318"/>
                </a:lnTo>
                <a:lnTo>
                  <a:pt x="250" y="316"/>
                </a:lnTo>
                <a:lnTo>
                  <a:pt x="259" y="310"/>
                </a:lnTo>
                <a:lnTo>
                  <a:pt x="266" y="303"/>
                </a:lnTo>
                <a:lnTo>
                  <a:pt x="273" y="296"/>
                </a:lnTo>
                <a:lnTo>
                  <a:pt x="277" y="287"/>
                </a:lnTo>
                <a:lnTo>
                  <a:pt x="281" y="278"/>
                </a:lnTo>
                <a:lnTo>
                  <a:pt x="282" y="267"/>
                </a:lnTo>
                <a:lnTo>
                  <a:pt x="282" y="267"/>
                </a:lnTo>
                <a:lnTo>
                  <a:pt x="281" y="256"/>
                </a:lnTo>
                <a:lnTo>
                  <a:pt x="277" y="245"/>
                </a:lnTo>
                <a:lnTo>
                  <a:pt x="273" y="236"/>
                </a:lnTo>
                <a:lnTo>
                  <a:pt x="266" y="229"/>
                </a:lnTo>
                <a:lnTo>
                  <a:pt x="259" y="221"/>
                </a:lnTo>
                <a:lnTo>
                  <a:pt x="250" y="218"/>
                </a:lnTo>
                <a:lnTo>
                  <a:pt x="239" y="214"/>
                </a:lnTo>
                <a:lnTo>
                  <a:pt x="230" y="212"/>
                </a:lnTo>
                <a:lnTo>
                  <a:pt x="230" y="212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179" name="Group 68">
            <a:extLst>
              <a:ext uri="{FF2B5EF4-FFF2-40B4-BE49-F238E27FC236}">
                <a16:creationId xmlns:a16="http://schemas.microsoft.com/office/drawing/2014/main" id="{74D73A98-8F5A-493E-A1C9-DBD7346A0E53}"/>
              </a:ext>
            </a:extLst>
          </p:cNvPr>
          <p:cNvGrpSpPr/>
          <p:nvPr/>
        </p:nvGrpSpPr>
        <p:grpSpPr>
          <a:xfrm>
            <a:off x="9366233" y="5051717"/>
            <a:ext cx="263673" cy="430419"/>
            <a:chOff x="22180550" y="3295650"/>
            <a:chExt cx="638175" cy="928688"/>
          </a:xfrm>
        </p:grpSpPr>
        <p:sp>
          <p:nvSpPr>
            <p:cNvPr id="180" name="AutoShape 60">
              <a:extLst>
                <a:ext uri="{FF2B5EF4-FFF2-40B4-BE49-F238E27FC236}">
                  <a16:creationId xmlns:a16="http://schemas.microsoft.com/office/drawing/2014/main" id="{495AAF62-666A-4A1F-806A-45DC947E9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42488" y="3556000"/>
              <a:ext cx="57150" cy="587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21599"/>
                  </a:moveTo>
                  <a:cubicBezTo>
                    <a:pt x="16769" y="21599"/>
                    <a:pt x="21600" y="16769"/>
                    <a:pt x="21600" y="10800"/>
                  </a:cubicBezTo>
                  <a:cubicBezTo>
                    <a:pt x="21600" y="4819"/>
                    <a:pt x="16769" y="0"/>
                    <a:pt x="10800" y="0"/>
                  </a:cubicBezTo>
                  <a:cubicBezTo>
                    <a:pt x="4830" y="0"/>
                    <a:pt x="0" y="4819"/>
                    <a:pt x="0" y="10800"/>
                  </a:cubicBezTo>
                  <a:cubicBezTo>
                    <a:pt x="0" y="16769"/>
                    <a:pt x="4830" y="21599"/>
                    <a:pt x="10800" y="21599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1" name="AutoShape 61">
              <a:extLst>
                <a:ext uri="{FF2B5EF4-FFF2-40B4-BE49-F238E27FC236}">
                  <a16:creationId xmlns:a16="http://schemas.microsoft.com/office/drawing/2014/main" id="{757B2724-C721-4E9B-9DF3-9692A9212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42488" y="3905250"/>
              <a:ext cx="57150" cy="5715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30" y="0"/>
                    <a:pt x="0" y="4830"/>
                    <a:pt x="0" y="10800"/>
                  </a:cubicBezTo>
                  <a:cubicBezTo>
                    <a:pt x="0" y="16769"/>
                    <a:pt x="4830" y="21599"/>
                    <a:pt x="10800" y="21599"/>
                  </a:cubicBezTo>
                  <a:cubicBezTo>
                    <a:pt x="16769" y="21599"/>
                    <a:pt x="21600" y="16769"/>
                    <a:pt x="21600" y="10800"/>
                  </a:cubicBezTo>
                  <a:cubicBezTo>
                    <a:pt x="21600" y="4830"/>
                    <a:pt x="16769" y="0"/>
                    <a:pt x="10800" y="0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2" name="AutoShape 62">
              <a:extLst>
                <a:ext uri="{FF2B5EF4-FFF2-40B4-BE49-F238E27FC236}">
                  <a16:creationId xmlns:a16="http://schemas.microsoft.com/office/drawing/2014/main" id="{4F15D15A-36F8-4DAA-B531-E70CBDE1F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67863" y="3730625"/>
              <a:ext cx="57150" cy="587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cubicBezTo>
                    <a:pt x="4830" y="0"/>
                    <a:pt x="0" y="4819"/>
                    <a:pt x="0" y="10800"/>
                  </a:cubicBezTo>
                  <a:cubicBezTo>
                    <a:pt x="0" y="16769"/>
                    <a:pt x="4830" y="21599"/>
                    <a:pt x="10800" y="21599"/>
                  </a:cubicBezTo>
                  <a:cubicBezTo>
                    <a:pt x="16769" y="21599"/>
                    <a:pt x="21600" y="16769"/>
                    <a:pt x="21600" y="10800"/>
                  </a:cubicBezTo>
                  <a:cubicBezTo>
                    <a:pt x="21600" y="4819"/>
                    <a:pt x="16769" y="0"/>
                    <a:pt x="10800" y="0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3" name="AutoShape 63">
              <a:extLst>
                <a:ext uri="{FF2B5EF4-FFF2-40B4-BE49-F238E27FC236}">
                  <a16:creationId xmlns:a16="http://schemas.microsoft.com/office/drawing/2014/main" id="{543B4F3F-1D7B-4F1C-B7FD-D9EA157C1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15525" y="3730625"/>
              <a:ext cx="58738" cy="587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10800"/>
                  </a:moveTo>
                  <a:cubicBezTo>
                    <a:pt x="0" y="16769"/>
                    <a:pt x="4830" y="21599"/>
                    <a:pt x="10800" y="21599"/>
                  </a:cubicBezTo>
                  <a:cubicBezTo>
                    <a:pt x="16769" y="21599"/>
                    <a:pt x="21600" y="16769"/>
                    <a:pt x="21600" y="10800"/>
                  </a:cubicBezTo>
                  <a:cubicBezTo>
                    <a:pt x="21600" y="4819"/>
                    <a:pt x="16769" y="0"/>
                    <a:pt x="10800" y="0"/>
                  </a:cubicBezTo>
                  <a:cubicBezTo>
                    <a:pt x="4830" y="0"/>
                    <a:pt x="0" y="4819"/>
                    <a:pt x="0" y="10800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4" name="AutoShape 64">
              <a:extLst>
                <a:ext uri="{FF2B5EF4-FFF2-40B4-BE49-F238E27FC236}">
                  <a16:creationId xmlns:a16="http://schemas.microsoft.com/office/drawing/2014/main" id="{3A897145-EC22-4340-A75D-537870D15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5013" y="3846513"/>
              <a:ext cx="58737" cy="58737"/>
            </a:xfrm>
            <a:custGeom>
              <a:avLst/>
              <a:gdLst>
                <a:gd name="T0" fmla="+- 0 10802 965"/>
                <a:gd name="T1" fmla="*/ T0 w 19675"/>
                <a:gd name="T2" fmla="+- 0 10800 961"/>
                <a:gd name="T3" fmla="*/ 10800 h 19678"/>
                <a:gd name="T4" fmla="+- 0 10802 965"/>
                <a:gd name="T5" fmla="*/ T4 w 19675"/>
                <a:gd name="T6" fmla="+- 0 10800 961"/>
                <a:gd name="T7" fmla="*/ 10800 h 19678"/>
                <a:gd name="T8" fmla="+- 0 10802 965"/>
                <a:gd name="T9" fmla="*/ T8 w 19675"/>
                <a:gd name="T10" fmla="+- 0 10800 961"/>
                <a:gd name="T11" fmla="*/ 10800 h 19678"/>
                <a:gd name="T12" fmla="+- 0 10802 965"/>
                <a:gd name="T13" fmla="*/ T12 w 19675"/>
                <a:gd name="T14" fmla="+- 0 10800 961"/>
                <a:gd name="T15" fmla="*/ 10800 h 1967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5" h="19678">
                  <a:moveTo>
                    <a:pt x="2894" y="2882"/>
                  </a:moveTo>
                  <a:cubicBezTo>
                    <a:pt x="-965" y="6725"/>
                    <a:pt x="-965" y="12952"/>
                    <a:pt x="2894" y="16795"/>
                  </a:cubicBezTo>
                  <a:cubicBezTo>
                    <a:pt x="6734" y="20638"/>
                    <a:pt x="12935" y="20638"/>
                    <a:pt x="16794" y="16795"/>
                  </a:cubicBezTo>
                  <a:cubicBezTo>
                    <a:pt x="20634" y="12952"/>
                    <a:pt x="20634" y="6725"/>
                    <a:pt x="16794" y="2882"/>
                  </a:cubicBezTo>
                  <a:cubicBezTo>
                    <a:pt x="12935" y="-961"/>
                    <a:pt x="6734" y="-961"/>
                    <a:pt x="2894" y="2882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5" name="AutoShape 65">
              <a:extLst>
                <a:ext uri="{FF2B5EF4-FFF2-40B4-BE49-F238E27FC236}">
                  <a16:creationId xmlns:a16="http://schemas.microsoft.com/office/drawing/2014/main" id="{4D3DE972-4BE9-4AB8-A96E-A95148E037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25013" y="3614738"/>
              <a:ext cx="58737" cy="58737"/>
            </a:xfrm>
            <a:custGeom>
              <a:avLst/>
              <a:gdLst>
                <a:gd name="T0" fmla="+- 0 10801 962"/>
                <a:gd name="T1" fmla="*/ T0 w 19678"/>
                <a:gd name="T2" fmla="+- 0 10801 965"/>
                <a:gd name="T3" fmla="*/ 10801 h 19673"/>
                <a:gd name="T4" fmla="+- 0 10801 962"/>
                <a:gd name="T5" fmla="*/ T4 w 19678"/>
                <a:gd name="T6" fmla="+- 0 10801 965"/>
                <a:gd name="T7" fmla="*/ 10801 h 19673"/>
                <a:gd name="T8" fmla="+- 0 10801 962"/>
                <a:gd name="T9" fmla="*/ T8 w 19678"/>
                <a:gd name="T10" fmla="+- 0 10801 965"/>
                <a:gd name="T11" fmla="*/ 10801 h 19673"/>
                <a:gd name="T12" fmla="+- 0 10801 962"/>
                <a:gd name="T13" fmla="*/ T12 w 19678"/>
                <a:gd name="T14" fmla="+- 0 10801 965"/>
                <a:gd name="T15" fmla="*/ 10801 h 19673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8" h="19673">
                  <a:moveTo>
                    <a:pt x="2897" y="2894"/>
                  </a:moveTo>
                  <a:cubicBezTo>
                    <a:pt x="-962" y="6734"/>
                    <a:pt x="-962" y="12935"/>
                    <a:pt x="2877" y="16785"/>
                  </a:cubicBezTo>
                  <a:cubicBezTo>
                    <a:pt x="6737" y="20635"/>
                    <a:pt x="12938" y="20635"/>
                    <a:pt x="16797" y="16785"/>
                  </a:cubicBezTo>
                  <a:cubicBezTo>
                    <a:pt x="20638" y="12935"/>
                    <a:pt x="20638" y="6734"/>
                    <a:pt x="16797" y="2894"/>
                  </a:cubicBezTo>
                  <a:cubicBezTo>
                    <a:pt x="12938" y="-965"/>
                    <a:pt x="6737" y="-965"/>
                    <a:pt x="2897" y="2894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6" name="AutoShape 66">
              <a:extLst>
                <a:ext uri="{FF2B5EF4-FFF2-40B4-BE49-F238E27FC236}">
                  <a16:creationId xmlns:a16="http://schemas.microsoft.com/office/drawing/2014/main" id="{3F2356D0-F95C-4800-95AC-0930D3D49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8375" y="3846513"/>
              <a:ext cx="57150" cy="58737"/>
            </a:xfrm>
            <a:custGeom>
              <a:avLst/>
              <a:gdLst>
                <a:gd name="T0" fmla="+- 0 10800 961"/>
                <a:gd name="T1" fmla="*/ T0 w 19678"/>
                <a:gd name="T2" fmla="+- 0 10800 961"/>
                <a:gd name="T3" fmla="*/ 10800 h 19678"/>
                <a:gd name="T4" fmla="+- 0 10800 961"/>
                <a:gd name="T5" fmla="*/ T4 w 19678"/>
                <a:gd name="T6" fmla="+- 0 10800 961"/>
                <a:gd name="T7" fmla="*/ 10800 h 19678"/>
                <a:gd name="T8" fmla="+- 0 10800 961"/>
                <a:gd name="T9" fmla="*/ T8 w 19678"/>
                <a:gd name="T10" fmla="+- 0 10800 961"/>
                <a:gd name="T11" fmla="*/ 10800 h 19678"/>
                <a:gd name="T12" fmla="+- 0 10800 961"/>
                <a:gd name="T13" fmla="*/ T12 w 19678"/>
                <a:gd name="T14" fmla="+- 0 10800 961"/>
                <a:gd name="T15" fmla="*/ 10800 h 1967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8" h="19678">
                  <a:moveTo>
                    <a:pt x="2882" y="2882"/>
                  </a:moveTo>
                  <a:cubicBezTo>
                    <a:pt x="-961" y="6725"/>
                    <a:pt x="-961" y="12952"/>
                    <a:pt x="2882" y="16795"/>
                  </a:cubicBezTo>
                  <a:cubicBezTo>
                    <a:pt x="6725" y="20638"/>
                    <a:pt x="12952" y="20638"/>
                    <a:pt x="16795" y="16795"/>
                  </a:cubicBezTo>
                  <a:cubicBezTo>
                    <a:pt x="20639" y="12952"/>
                    <a:pt x="20639" y="6725"/>
                    <a:pt x="16795" y="2882"/>
                  </a:cubicBezTo>
                  <a:cubicBezTo>
                    <a:pt x="12952" y="-961"/>
                    <a:pt x="6725" y="-961"/>
                    <a:pt x="2882" y="2882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7" name="AutoShape 67">
              <a:extLst>
                <a:ext uri="{FF2B5EF4-FFF2-40B4-BE49-F238E27FC236}">
                  <a16:creationId xmlns:a16="http://schemas.microsoft.com/office/drawing/2014/main" id="{9F2E90E7-602F-4E55-9B97-BA66EFA39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80550" y="3295650"/>
              <a:ext cx="638175" cy="9286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9818" y="16200"/>
                  </a:moveTo>
                  <a:cubicBezTo>
                    <a:pt x="5486" y="16200"/>
                    <a:pt x="1963" y="13776"/>
                    <a:pt x="1963" y="10800"/>
                  </a:cubicBezTo>
                  <a:cubicBezTo>
                    <a:pt x="1963" y="7821"/>
                    <a:pt x="5486" y="5400"/>
                    <a:pt x="9818" y="5400"/>
                  </a:cubicBezTo>
                  <a:cubicBezTo>
                    <a:pt x="14148" y="5400"/>
                    <a:pt x="17672" y="7821"/>
                    <a:pt x="17672" y="10800"/>
                  </a:cubicBezTo>
                  <a:cubicBezTo>
                    <a:pt x="17672" y="13776"/>
                    <a:pt x="14148" y="16200"/>
                    <a:pt x="9818" y="16200"/>
                  </a:cubicBezTo>
                  <a:moveTo>
                    <a:pt x="13745" y="20249"/>
                  </a:moveTo>
                  <a:lnTo>
                    <a:pt x="5890" y="20249"/>
                  </a:lnTo>
                  <a:lnTo>
                    <a:pt x="4909" y="16613"/>
                  </a:lnTo>
                  <a:cubicBezTo>
                    <a:pt x="6358" y="17192"/>
                    <a:pt x="8019" y="17549"/>
                    <a:pt x="9818" y="17549"/>
                  </a:cubicBezTo>
                  <a:cubicBezTo>
                    <a:pt x="11614" y="17549"/>
                    <a:pt x="13277" y="17192"/>
                    <a:pt x="14727" y="16613"/>
                  </a:cubicBezTo>
                  <a:cubicBezTo>
                    <a:pt x="14727" y="16613"/>
                    <a:pt x="13745" y="20249"/>
                    <a:pt x="13745" y="20249"/>
                  </a:cubicBezTo>
                  <a:close/>
                  <a:moveTo>
                    <a:pt x="5992" y="1350"/>
                  </a:moveTo>
                  <a:lnTo>
                    <a:pt x="13847" y="1350"/>
                  </a:lnTo>
                  <a:lnTo>
                    <a:pt x="14828" y="4985"/>
                  </a:lnTo>
                  <a:cubicBezTo>
                    <a:pt x="13379" y="4406"/>
                    <a:pt x="11718" y="4050"/>
                    <a:pt x="9919" y="4050"/>
                  </a:cubicBezTo>
                  <a:cubicBezTo>
                    <a:pt x="8123" y="4050"/>
                    <a:pt x="6460" y="4406"/>
                    <a:pt x="5010" y="4985"/>
                  </a:cubicBezTo>
                  <a:cubicBezTo>
                    <a:pt x="5010" y="4985"/>
                    <a:pt x="5992" y="1350"/>
                    <a:pt x="5992" y="1350"/>
                  </a:cubicBezTo>
                  <a:close/>
                  <a:moveTo>
                    <a:pt x="19636" y="9450"/>
                  </a:moveTo>
                  <a:cubicBezTo>
                    <a:pt x="19567" y="9450"/>
                    <a:pt x="19509" y="9472"/>
                    <a:pt x="19442" y="9477"/>
                  </a:cubicBezTo>
                  <a:cubicBezTo>
                    <a:pt x="19101" y="8298"/>
                    <a:pt x="18294" y="7245"/>
                    <a:pt x="17187" y="6376"/>
                  </a:cubicBezTo>
                  <a:lnTo>
                    <a:pt x="15778" y="1102"/>
                  </a:lnTo>
                  <a:cubicBezTo>
                    <a:pt x="15605" y="464"/>
                    <a:pt x="14794" y="0"/>
                    <a:pt x="13847" y="0"/>
                  </a:cubicBezTo>
                  <a:lnTo>
                    <a:pt x="5992" y="0"/>
                  </a:lnTo>
                  <a:cubicBezTo>
                    <a:pt x="5047" y="0"/>
                    <a:pt x="4236" y="464"/>
                    <a:pt x="4061" y="1102"/>
                  </a:cubicBezTo>
                  <a:lnTo>
                    <a:pt x="2686" y="6198"/>
                  </a:lnTo>
                  <a:cubicBezTo>
                    <a:pt x="1037" y="7405"/>
                    <a:pt x="0" y="9012"/>
                    <a:pt x="0" y="10800"/>
                  </a:cubicBezTo>
                  <a:cubicBezTo>
                    <a:pt x="0" y="12542"/>
                    <a:pt x="995" y="14110"/>
                    <a:pt x="2573" y="15307"/>
                  </a:cubicBezTo>
                  <a:lnTo>
                    <a:pt x="3959" y="20496"/>
                  </a:lnTo>
                  <a:cubicBezTo>
                    <a:pt x="4132" y="21135"/>
                    <a:pt x="4943" y="21599"/>
                    <a:pt x="5890" y="21599"/>
                  </a:cubicBezTo>
                  <a:lnTo>
                    <a:pt x="13745" y="21599"/>
                  </a:lnTo>
                  <a:cubicBezTo>
                    <a:pt x="14690" y="21599"/>
                    <a:pt x="15501" y="21135"/>
                    <a:pt x="15676" y="20496"/>
                  </a:cubicBezTo>
                  <a:lnTo>
                    <a:pt x="17074" y="15311"/>
                  </a:lnTo>
                  <a:cubicBezTo>
                    <a:pt x="18242" y="14426"/>
                    <a:pt x="19089" y="13340"/>
                    <a:pt x="19442" y="12122"/>
                  </a:cubicBezTo>
                  <a:cubicBezTo>
                    <a:pt x="19509" y="12127"/>
                    <a:pt x="19567" y="12150"/>
                    <a:pt x="19636" y="12150"/>
                  </a:cubicBezTo>
                  <a:cubicBezTo>
                    <a:pt x="20719" y="12150"/>
                    <a:pt x="21600" y="11544"/>
                    <a:pt x="21600" y="10800"/>
                  </a:cubicBezTo>
                  <a:cubicBezTo>
                    <a:pt x="21600" y="10053"/>
                    <a:pt x="20719" y="9450"/>
                    <a:pt x="19636" y="9450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  <p:sp>
          <p:nvSpPr>
            <p:cNvPr id="188" name="AutoShape 68">
              <a:extLst>
                <a:ext uri="{FF2B5EF4-FFF2-40B4-BE49-F238E27FC236}">
                  <a16:creationId xmlns:a16="http://schemas.microsoft.com/office/drawing/2014/main" id="{4FFDD0FB-C14D-4B1C-ADDB-A5A5FFFF0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42488" y="3614738"/>
              <a:ext cx="174625" cy="176212"/>
            </a:xfrm>
            <a:custGeom>
              <a:avLst/>
              <a:gdLst>
                <a:gd name="T0" fmla="*/ 10740 w 21481"/>
                <a:gd name="T1" fmla="+- 0 10860 120"/>
                <a:gd name="T2" fmla="*/ 10860 h 21480"/>
                <a:gd name="T3" fmla="*/ 10740 w 21481"/>
                <a:gd name="T4" fmla="+- 0 10860 120"/>
                <a:gd name="T5" fmla="*/ 10860 h 21480"/>
                <a:gd name="T6" fmla="*/ 10740 w 21481"/>
                <a:gd name="T7" fmla="+- 0 10860 120"/>
                <a:gd name="T8" fmla="*/ 10860 h 21480"/>
                <a:gd name="T9" fmla="*/ 10740 w 21481"/>
                <a:gd name="T10" fmla="+- 0 10860 120"/>
                <a:gd name="T11" fmla="*/ 10860 h 21480"/>
              </a:gdLst>
              <a:ahLst/>
              <a:cxnLst>
                <a:cxn ang="0">
                  <a:pos x="T0" y="T2"/>
                </a:cxn>
                <a:cxn ang="0">
                  <a:pos x="T3" y="T5"/>
                </a:cxn>
                <a:cxn ang="0">
                  <a:pos x="T6" y="T8"/>
                </a:cxn>
                <a:cxn ang="0">
                  <a:pos x="T9" y="T11"/>
                </a:cxn>
              </a:cxnLst>
              <a:rect l="0" t="0" r="r" b="b"/>
              <a:pathLst>
                <a:path w="21481" h="21480">
                  <a:moveTo>
                    <a:pt x="21127" y="346"/>
                  </a:moveTo>
                  <a:cubicBezTo>
                    <a:pt x="20697" y="-82"/>
                    <a:pt x="20002" y="-120"/>
                    <a:pt x="19516" y="270"/>
                  </a:cubicBezTo>
                  <a:lnTo>
                    <a:pt x="1055" y="15432"/>
                  </a:lnTo>
                  <a:cubicBezTo>
                    <a:pt x="375" y="16113"/>
                    <a:pt x="0" y="17012"/>
                    <a:pt x="0" y="17972"/>
                  </a:cubicBezTo>
                  <a:cubicBezTo>
                    <a:pt x="0" y="18902"/>
                    <a:pt x="361" y="19783"/>
                    <a:pt x="1027" y="20446"/>
                  </a:cubicBezTo>
                  <a:cubicBezTo>
                    <a:pt x="1694" y="21103"/>
                    <a:pt x="2583" y="21473"/>
                    <a:pt x="3542" y="21479"/>
                  </a:cubicBezTo>
                  <a:cubicBezTo>
                    <a:pt x="4431" y="21473"/>
                    <a:pt x="5354" y="21144"/>
                    <a:pt x="6028" y="20495"/>
                  </a:cubicBezTo>
                  <a:lnTo>
                    <a:pt x="12598" y="12627"/>
                  </a:lnTo>
                  <a:lnTo>
                    <a:pt x="21224" y="1935"/>
                  </a:lnTo>
                  <a:cubicBezTo>
                    <a:pt x="21600" y="1462"/>
                    <a:pt x="21558" y="771"/>
                    <a:pt x="21127" y="346"/>
                  </a:cubicBezTo>
                </a:path>
              </a:pathLst>
            </a:custGeom>
            <a:solidFill>
              <a:srgbClr val="42424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38100" tIns="38100" rIns="38100" bIns="38100" anchor="ctr"/>
            <a:lstStyle/>
            <a:p>
              <a:pPr defTabSz="457200"/>
              <a:endParaRPr lang="en-US" sz="30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467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5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250"/>
                            </p:stCondLst>
                            <p:childTnLst>
                              <p:par>
                                <p:cTn id="3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75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2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250"/>
                            </p:stCondLst>
                            <p:childTnLst>
                              <p:par>
                                <p:cTn id="5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2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8680327" cy="4315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Что мы предлагаем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ee4pHeader1"/>
          <p:cNvSpPr txBox="1"/>
          <p:nvPr/>
        </p:nvSpPr>
        <p:spPr>
          <a:xfrm>
            <a:off x="334709" y="710590"/>
            <a:ext cx="6151815" cy="291319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1.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мест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с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озда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«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Фреймворк управления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ИОКР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»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.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2.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едложи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ИТ «ЭРА»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-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тать центром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создания и развития данного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екта.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3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. Определить первых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участников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- кто будет готов вместе пройти пу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азработки и апробации Решений из состава фреймворка. 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4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. Разработать план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действий и разработки информационных продуктов, готовых к эксплуатаци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в отечественной доверенной ОС, на отечественном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цессоре «Эльбрус».</a:t>
            </a: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5. Цель поставить отечественное (доверенное) ПО, импортозамещение</a:t>
            </a:r>
          </a:p>
          <a:p>
            <a:pPr marL="0" lvl="3"/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6.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чать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действовать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!</a:t>
            </a:r>
          </a:p>
          <a:p>
            <a:pPr marL="0" lvl="3"/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marL="0" lvl="3"/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Это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будет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аш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клад – как слагаемо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общего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успеха, достижения показателей роста производительности труда за счет цифровизации!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pic>
        <p:nvPicPr>
          <p:cNvPr id="105474" name="Picture 2" descr="РОСТ ПРОИЗВОДИТЕЛЬНОСТИ ТРУДА НА СРЕДНИХ И КРУПНЫХ &#10;ПРЕДПРИЯТИЯХ БАЗОВЫХ НЕСЫРЬЕВЫХ ОТРАСЛЕЙ ЭКОНОМИКИ &#10;(В % К ПРЕДЫДУЩЕМУ ГОДУ) &#10;2018 101,6 &#10;2019 | 1 &#10;2021 103,1 • &#10;2024 105,0 &#10;Проекты по предоставлению налоговых &#10;преференций для стимулирования роста &#10;производительности труда (кол-во регионов) &#10;о &#10;Количество руководителей, обученных &#10;по программе упра*енческих навыков &#10;для повышения производительности труда, &#10;(тыс. человек) &#10;2019 3,2 &#10;2021 &#10;9,7 &#10;202а &#10;2019 &#10;2021 &#10;2022 &#10;90 % &#10;65 &#10;1 &#10;10 &#10;составит доля участников программы обучения управленческим навыкам &#10;для повышения производительности труда, удовлетворенных программои &#10;обучения, к 2024 г. &#10;региональных центров компетенций создадут в 2018-2024 гг. &#10;сотрудников предприятии — участников национального проекта &#10;1800 &#10;примут участие в международных стажировках до конца 2024 г. &#10;тренеров предприятии — участников национального проекта &#10;4350 &#10;подготовлено до конца 2024 г. &#10;ИТ-платформа для тиражирования лучших практик &#10;82 820 &#10;80 &#10;20 &#10;7970 &#10;2019 &#10;50 &#10;зо 920 &#10;2021 &#10;2024 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976" y="894837"/>
            <a:ext cx="5067908" cy="59146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5476" name="Picture 4" descr="Ð¦Ð¸ÑÑÐ¾Ð²Ð¸Ð·Ð°ÑÐ¸Ñ â Ð¾ÑÐ½Ð¾Ð²Ð° ÑÐºÐ¾Ð½Ð¾Ð¼Ð¸ÑÐµÑÐºÐ¾Ð³Ð¾ ÑÐ¾ÑÑÐ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09" y="3623783"/>
            <a:ext cx="5779763" cy="31857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70226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Благодарю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 внимание</a:t>
            </a:r>
            <a:endParaRPr lang="en-US" dirty="0"/>
          </a:p>
        </p:txBody>
      </p:sp>
      <p:pic>
        <p:nvPicPr>
          <p:cNvPr id="5" name="Picture Placeholder 4" descr="RTI_Shape_White_L_Circle.png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17" t="8929" r="13361" b="37501"/>
          <a:stretch/>
        </p:blipFill>
        <p:spPr>
          <a:xfrm>
            <a:off x="4978403" y="1066801"/>
            <a:ext cx="5659120" cy="5374643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dirty="0"/>
              <a:t>a: 10, 8 Marta street, Bld. 1, </a:t>
            </a:r>
            <a:br>
              <a:rPr lang="en-US" dirty="0"/>
            </a:br>
            <a:r>
              <a:rPr lang="en-US" dirty="0"/>
              <a:t>Moscow, Russia, 127083 </a:t>
            </a:r>
            <a:br>
              <a:rPr lang="en-US" dirty="0"/>
            </a:br>
            <a:r>
              <a:rPr lang="en-US" dirty="0"/>
              <a:t>t: +7 (495) 788-00-07</a:t>
            </a:r>
            <a:br>
              <a:rPr lang="en-US" dirty="0"/>
            </a:br>
            <a:r>
              <a:rPr lang="en-US" dirty="0"/>
              <a:t>f: +7 (495) 614-22-62</a:t>
            </a:r>
            <a:endParaRPr lang="ru-RU" dirty="0"/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3736063" y="5453382"/>
            <a:ext cx="2067204" cy="914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 defTabSz="548626" rtl="0" eaLnBrk="1" latinLnBrk="0" hangingPunct="1">
              <a:spcBef>
                <a:spcPct val="20000"/>
              </a:spcBef>
              <a:buFont typeface="Arial"/>
              <a:buNone/>
              <a:defRPr sz="126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548626" indent="0" algn="l" defTabSz="548626" rtl="0" eaLnBrk="1" latinLnBrk="0" hangingPunct="1">
              <a:spcBef>
                <a:spcPct val="20000"/>
              </a:spcBef>
              <a:buFont typeface="Arial"/>
              <a:buNone/>
              <a:defRPr sz="168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97253" indent="0" algn="l" defTabSz="548626" rtl="0" eaLnBrk="1" latinLnBrk="0" hangingPunct="1">
              <a:spcBef>
                <a:spcPct val="20000"/>
              </a:spcBef>
              <a:buFont typeface="Arial"/>
              <a:buNone/>
              <a:defRPr sz="192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45879" indent="0" algn="l" defTabSz="548626" rtl="0" eaLnBrk="1" latinLnBrk="0" hangingPunct="1">
              <a:spcBef>
                <a:spcPct val="20000"/>
              </a:spcBef>
              <a:buFont typeface="Arial"/>
              <a:buNone/>
              <a:defRPr sz="192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505" indent="0" algn="l" defTabSz="548626" rtl="0" eaLnBrk="1" latinLnBrk="0" hangingPunct="1">
              <a:spcBef>
                <a:spcPct val="20000"/>
              </a:spcBef>
              <a:buFont typeface="Arial"/>
              <a:buNone/>
              <a:defRPr sz="192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017445" indent="-274313" algn="l" defTabSz="54862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071" indent="-274313" algn="l" defTabSz="54862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697" indent="-274313" algn="l" defTabSz="54862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323" indent="-274313" algn="l" defTabSz="54862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/>
              <a:t>Алексей Маслов</a:t>
            </a:r>
            <a:endParaRPr lang="en-US" sz="1600" dirty="0" smtClean="0"/>
          </a:p>
          <a:p>
            <a:r>
              <a:rPr lang="en-US" sz="1600" dirty="0" smtClean="0">
                <a:hlinkClick r:id="rId3"/>
              </a:rPr>
              <a:t>amaslov@aorti.ru</a:t>
            </a:r>
            <a:endParaRPr lang="ru-RU" sz="1600" dirty="0" smtClean="0"/>
          </a:p>
          <a:p>
            <a:r>
              <a:rPr lang="ru-RU" sz="1600" dirty="0" smtClean="0"/>
              <a:t>+7 916 834 30 07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929348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30"/>
            <a:ext cx="8680327" cy="3897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/>
              <a:t>Что происходит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2315797" y="690082"/>
            <a:ext cx="4983870" cy="2960335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242499" y="3261285"/>
            <a:ext cx="11522782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Чего так не хватает. О наболевшем…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Сквозные приоритеты проектов, задач по всей организаци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Адаптивное моментальное перепланирование, исключающее простой ресурсов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Особое планирование «задач к сроку», упреждающее включение в план рабо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Расчет необходимого количества ресурсов на проект/задачу что бы успеть «к сроку»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«Вплетение» в поток исполнения - проектных, административных, ежедневных, срочных, важных и др. задач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Анализ задержек проекта: какие задачи с большим приоритетом отрывали ресурс и с задач критического пут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Перебирая приоритеты проектов получать оценку сроков завершения проектов, просить нужный приоритет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Фиксировать кто и когда путем изменения приоритетов проектов отрывал ресурсы на другие более важные задачи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871398" y="2093989"/>
            <a:ext cx="1748901" cy="7368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Проекты</a:t>
            </a:r>
            <a:endParaRPr lang="ru-RU" sz="18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28798" y="2093989"/>
            <a:ext cx="1748901" cy="736846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Совещания поручения</a:t>
            </a:r>
            <a:endParaRPr lang="ru-RU" sz="1800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986198" y="2093989"/>
            <a:ext cx="1748901" cy="736846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err="1" smtClean="0">
                <a:solidFill>
                  <a:schemeClr val="accent3">
                    <a:lumMod val="50000"/>
                  </a:schemeClr>
                </a:solidFill>
              </a:rPr>
              <a:t>Администра-тивные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 задачи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053340" y="2093989"/>
            <a:ext cx="1748901" cy="736846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</a:rPr>
              <a:t>Задачи обеспечения</a:t>
            </a:r>
            <a:endParaRPr lang="ru-RU" sz="18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 rot="21000000">
            <a:off x="6758572" y="1272626"/>
            <a:ext cx="679450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Деньг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 rot="21000000">
            <a:off x="8150730" y="1336351"/>
            <a:ext cx="1187450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нструмент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 rot="21000000">
            <a:off x="7477630" y="927499"/>
            <a:ext cx="962548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Материал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 rot="21000000">
            <a:off x="5048005" y="1094729"/>
            <a:ext cx="589224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Люд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21000000">
            <a:off x="2867095" y="784033"/>
            <a:ext cx="1194758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Рекламац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21000000">
            <a:off x="1631129" y="1212443"/>
            <a:ext cx="1336202" cy="216745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Договоренност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 rot="21000000">
            <a:off x="3082340" y="1509441"/>
            <a:ext cx="1066672" cy="252147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Обещан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 rot="21000000">
            <a:off x="419661" y="690082"/>
            <a:ext cx="1066672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Уточнен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 rot="21000000">
            <a:off x="983428" y="1261959"/>
            <a:ext cx="494997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КД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 rot="21000000">
            <a:off x="357351" y="1302865"/>
            <a:ext cx="494997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ТЗ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 rot="21000000">
            <a:off x="8542146" y="803996"/>
            <a:ext cx="1194758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Договор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 rot="21000000">
            <a:off x="5705697" y="1272626"/>
            <a:ext cx="776630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Отпуск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 rot="21000000">
            <a:off x="1832502" y="1561634"/>
            <a:ext cx="895761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спытан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 rot="21000000">
            <a:off x="6392769" y="804510"/>
            <a:ext cx="895761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акупк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 rot="21000000">
            <a:off x="535755" y="1689342"/>
            <a:ext cx="991522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риоритет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8" name="Стрелка вправо 27"/>
          <p:cNvSpPr/>
          <p:nvPr/>
        </p:nvSpPr>
        <p:spPr>
          <a:xfrm>
            <a:off x="224001" y="3612002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 rot="21000000">
            <a:off x="7264941" y="1662415"/>
            <a:ext cx="812244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танк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 rot="21000000">
            <a:off x="1773366" y="754719"/>
            <a:ext cx="812244" cy="25983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рок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 rot="21000000">
            <a:off x="3797343" y="1175009"/>
            <a:ext cx="707367" cy="275885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КПГ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21000000">
            <a:off x="5067088" y="767908"/>
            <a:ext cx="897720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ереписк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 rot="21000000">
            <a:off x="4574354" y="1618754"/>
            <a:ext cx="1153949" cy="33446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огласования</a:t>
            </a:r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34" name="Picture 2" descr="http://curator-pro.ru/wp-content/uploads/%D0%A1%D1%82%D0%B8%D0%BA%D0%B5%D1%80%D1%8B-%D0%BD%D0%B0-%D0%BC%D0%BE%D0%BD%D0%B8%D1%82%D0%BE%D1%80%D0%B5-300x23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8066" y="1925132"/>
            <a:ext cx="2759391" cy="213393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sp>
        <p:nvSpPr>
          <p:cNvPr id="35" name="Стрелка вправо 34"/>
          <p:cNvSpPr/>
          <p:nvPr/>
        </p:nvSpPr>
        <p:spPr>
          <a:xfrm>
            <a:off x="224001" y="3969372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право 35"/>
          <p:cNvSpPr/>
          <p:nvPr/>
        </p:nvSpPr>
        <p:spPr>
          <a:xfrm>
            <a:off x="224001" y="4303261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>
            <a:off x="224001" y="4675366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224001" y="5059470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224001" y="5442902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224001" y="5804446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>
            <a:off x="224001" y="6173330"/>
            <a:ext cx="266700" cy="2952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005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/>
              <a:t>стр. </a:t>
            </a:r>
            <a:fld id="{2066355A-084C-D24E-9AD2-7E4FC41EA62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30"/>
            <a:ext cx="8680327" cy="38977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Необходимый охват: уровни и сущности </a:t>
            </a:r>
            <a:r>
              <a:rPr lang="ru-RU" dirty="0" smtClean="0"/>
              <a:t>управления</a:t>
            </a:r>
            <a:endParaRPr lang="ru-RU" dirty="0"/>
          </a:p>
        </p:txBody>
      </p:sp>
      <p:sp>
        <p:nvSpPr>
          <p:cNvPr id="6" name="Стрелка вниз 5"/>
          <p:cNvSpPr/>
          <p:nvPr/>
        </p:nvSpPr>
        <p:spPr>
          <a:xfrm rot="10800000">
            <a:off x="5291291" y="1170598"/>
            <a:ext cx="375185" cy="5226474"/>
          </a:xfrm>
          <a:prstGeom prst="downArrow">
            <a:avLst/>
          </a:prstGeom>
          <a:gradFill flip="none" rotWithShape="1">
            <a:gsLst>
              <a:gs pos="0">
                <a:schemeClr val="accent5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  <a:tileRect/>
          </a:gra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8" name="Овал 7"/>
          <p:cNvSpPr/>
          <p:nvPr/>
        </p:nvSpPr>
        <p:spPr>
          <a:xfrm>
            <a:off x="6091033" y="4703258"/>
            <a:ext cx="4392488" cy="158417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9" name="Овал 8"/>
          <p:cNvSpPr/>
          <p:nvPr/>
        </p:nvSpPr>
        <p:spPr>
          <a:xfrm>
            <a:off x="6091033" y="2831050"/>
            <a:ext cx="4392488" cy="158417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0" name="Овал 9"/>
          <p:cNvSpPr/>
          <p:nvPr/>
        </p:nvSpPr>
        <p:spPr>
          <a:xfrm>
            <a:off x="6019025" y="941714"/>
            <a:ext cx="4392488" cy="158417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TextBox 11"/>
          <p:cNvSpPr txBox="1"/>
          <p:nvPr/>
        </p:nvSpPr>
        <p:spPr>
          <a:xfrm>
            <a:off x="6091033" y="5310680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Деньги</a:t>
            </a:r>
            <a:endParaRPr lang="ru-RU" sz="1800" dirty="0"/>
          </a:p>
        </p:txBody>
      </p:sp>
      <p:sp>
        <p:nvSpPr>
          <p:cNvPr id="13" name="TextBox 12"/>
          <p:cNvSpPr txBox="1"/>
          <p:nvPr/>
        </p:nvSpPr>
        <p:spPr>
          <a:xfrm>
            <a:off x="7049033" y="5149908"/>
            <a:ext cx="1817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роизводств. ресурсы, ПО, …</a:t>
            </a:r>
            <a:endParaRPr lang="ru-RU" sz="1800" dirty="0"/>
          </a:p>
        </p:txBody>
      </p:sp>
      <p:sp>
        <p:nvSpPr>
          <p:cNvPr id="14" name="TextBox 13"/>
          <p:cNvSpPr txBox="1"/>
          <p:nvPr/>
        </p:nvSpPr>
        <p:spPr>
          <a:xfrm>
            <a:off x="8830073" y="5167753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Материалы и инструменты</a:t>
            </a:r>
            <a:endParaRPr lang="ru-RU" sz="1800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7179044" y="5207314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8830073" y="5207314"/>
            <a:ext cx="0" cy="576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97688" y="4554961"/>
            <a:ext cx="874214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897688" y="2687034"/>
            <a:ext cx="874214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685992" y="3348747"/>
            <a:ext cx="10698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исьма, приказы</a:t>
            </a:r>
            <a:endParaRPr lang="ru-RU" sz="1800" dirty="0"/>
          </a:p>
        </p:txBody>
      </p:sp>
      <p:sp>
        <p:nvSpPr>
          <p:cNvPr id="20" name="TextBox 19"/>
          <p:cNvSpPr txBox="1"/>
          <p:nvPr/>
        </p:nvSpPr>
        <p:spPr>
          <a:xfrm>
            <a:off x="6137125" y="3318991"/>
            <a:ext cx="1459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Служебные записки</a:t>
            </a:r>
            <a:endParaRPr lang="ru-RU" sz="1800" dirty="0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637285" y="3335106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8755329" y="3335106"/>
            <a:ext cx="0" cy="720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8800657" y="3369609"/>
            <a:ext cx="1538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Согласован-</a:t>
            </a:r>
            <a:r>
              <a:rPr lang="ru-RU" sz="1800" dirty="0" err="1" smtClean="0"/>
              <a:t>ные</a:t>
            </a:r>
            <a:r>
              <a:rPr lang="ru-RU" sz="1800" dirty="0" smtClean="0"/>
              <a:t> КПГ</a:t>
            </a:r>
            <a:endParaRPr lang="ru-RU" sz="1800" dirty="0"/>
          </a:p>
        </p:txBody>
      </p:sp>
      <p:sp>
        <p:nvSpPr>
          <p:cNvPr id="24" name="TextBox 23"/>
          <p:cNvSpPr txBox="1"/>
          <p:nvPr/>
        </p:nvSpPr>
        <p:spPr>
          <a:xfrm>
            <a:off x="6415069" y="1475722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оставляемые документы</a:t>
            </a:r>
            <a:endParaRPr lang="ru-RU" sz="1800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8284769" y="1502960"/>
            <a:ext cx="0" cy="5447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8204608" y="1466624"/>
            <a:ext cx="21348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риборы</a:t>
            </a:r>
            <a:r>
              <a:rPr lang="en-US" sz="1800" dirty="0" smtClean="0"/>
              <a:t> </a:t>
            </a:r>
            <a:r>
              <a:rPr lang="ru-RU" sz="1800" dirty="0" smtClean="0"/>
              <a:t>и комплексы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667097" y="1462898"/>
            <a:ext cx="3024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7459185" y="2104048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оток задач</a:t>
            </a:r>
            <a:endParaRPr lang="ru-RU" sz="180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6752757" y="2110970"/>
            <a:ext cx="3024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7378517" y="1052916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КПГ - </a:t>
            </a:r>
            <a:r>
              <a:rPr lang="ru-RU" sz="1800" dirty="0" smtClean="0">
                <a:solidFill>
                  <a:srgbClr val="FF0000"/>
                </a:solidFill>
              </a:rPr>
              <a:t>Р </a:t>
            </a:r>
            <a:endParaRPr lang="ru-RU" sz="1800" dirty="0"/>
          </a:p>
        </p:txBody>
      </p:sp>
      <p:sp>
        <p:nvSpPr>
          <p:cNvPr id="31" name="TextBox 30"/>
          <p:cNvSpPr txBox="1"/>
          <p:nvPr/>
        </p:nvSpPr>
        <p:spPr>
          <a:xfrm>
            <a:off x="386215" y="4727065"/>
            <a:ext cx="493254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u="sng" dirty="0" smtClean="0"/>
              <a:t>Обеспечивающий уровень:</a:t>
            </a:r>
          </a:p>
          <a:p>
            <a:endParaRPr lang="ru-RU" sz="1600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Управление сквозным потоком денежных средств (предприятие, кооперация, поставщики)</a:t>
            </a:r>
          </a:p>
          <a:p>
            <a:pPr marL="285750" indent="-285750">
              <a:buFontTx/>
              <a:buChar char="-"/>
            </a:pPr>
            <a:r>
              <a:rPr lang="ru-RU" sz="1600" dirty="0" smtClean="0"/>
              <a:t>Управление комплектованием, обеспечение производства, метрологии, калибровки, испытаний, поставки результата</a:t>
            </a:r>
            <a:endParaRPr lang="ru-RU" sz="1600" dirty="0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752757" y="4055186"/>
            <a:ext cx="3024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6866647" y="3318991"/>
            <a:ext cx="3024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7387177" y="2904479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КПГ - </a:t>
            </a:r>
            <a:r>
              <a:rPr lang="ru-RU" sz="1800" dirty="0" smtClean="0">
                <a:solidFill>
                  <a:srgbClr val="FF0000"/>
                </a:solidFill>
              </a:rPr>
              <a:t>К</a:t>
            </a:r>
            <a:endParaRPr lang="ru-RU" sz="1800" dirty="0"/>
          </a:p>
        </p:txBody>
      </p:sp>
      <p:sp>
        <p:nvSpPr>
          <p:cNvPr id="35" name="TextBox 34"/>
          <p:cNvSpPr txBox="1"/>
          <p:nvPr/>
        </p:nvSpPr>
        <p:spPr>
          <a:xfrm>
            <a:off x="7459185" y="5866738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оток задач</a:t>
            </a:r>
            <a:endParaRPr lang="ru-RU" sz="1800" dirty="0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6777845" y="5783378"/>
            <a:ext cx="3024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6705837" y="5207314"/>
            <a:ext cx="3024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459185" y="4781750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КПГ</a:t>
            </a:r>
            <a:r>
              <a:rPr lang="en-US" sz="1800" dirty="0" smtClean="0"/>
              <a:t> </a:t>
            </a:r>
            <a:r>
              <a:rPr lang="ru-RU" sz="1800" smtClean="0"/>
              <a:t>- </a:t>
            </a:r>
            <a:r>
              <a:rPr lang="ru-RU" sz="1800" smtClean="0">
                <a:solidFill>
                  <a:srgbClr val="FF0000"/>
                </a:solidFill>
              </a:rPr>
              <a:t>С</a:t>
            </a:r>
            <a:endParaRPr lang="ru-RU" sz="1800" dirty="0"/>
          </a:p>
        </p:txBody>
      </p:sp>
      <p:sp>
        <p:nvSpPr>
          <p:cNvPr id="39" name="TextBox 38"/>
          <p:cNvSpPr txBox="1"/>
          <p:nvPr/>
        </p:nvSpPr>
        <p:spPr>
          <a:xfrm>
            <a:off x="7478715" y="4030215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оток задач</a:t>
            </a:r>
            <a:endParaRPr lang="ru-RU" sz="1800" dirty="0"/>
          </a:p>
        </p:txBody>
      </p:sp>
      <p:sp>
        <p:nvSpPr>
          <p:cNvPr id="40" name="TextBox 39"/>
          <p:cNvSpPr txBox="1"/>
          <p:nvPr/>
        </p:nvSpPr>
        <p:spPr>
          <a:xfrm>
            <a:off x="415189" y="2696167"/>
            <a:ext cx="494469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u="sng" dirty="0" smtClean="0"/>
              <a:t>Уровень постоянной координации</a:t>
            </a:r>
          </a:p>
          <a:p>
            <a:endParaRPr lang="ru-RU" sz="1600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Управление координацией работ между внутренними подразделениями и внешней кооперацией</a:t>
            </a:r>
          </a:p>
          <a:p>
            <a:pPr marL="285750" indent="-285750">
              <a:buFontTx/>
              <a:buChar char="-"/>
            </a:pPr>
            <a:r>
              <a:rPr lang="ru-RU" sz="1600" dirty="0" smtClean="0"/>
              <a:t>Эскалация затруднений, своевременное подключение руководства для их решения</a:t>
            </a:r>
            <a:endParaRPr lang="ru-RU" sz="1600" dirty="0"/>
          </a:p>
        </p:txBody>
      </p:sp>
      <p:sp>
        <p:nvSpPr>
          <p:cNvPr id="41" name="TextBox 40"/>
          <p:cNvSpPr txBox="1"/>
          <p:nvPr/>
        </p:nvSpPr>
        <p:spPr>
          <a:xfrm>
            <a:off x="429046" y="801266"/>
            <a:ext cx="468928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u="sng" dirty="0" smtClean="0"/>
              <a:t>Уровень получения значимого результата:</a:t>
            </a:r>
          </a:p>
          <a:p>
            <a:endParaRPr lang="ru-RU" sz="1600" u="sng" dirty="0" smtClean="0"/>
          </a:p>
          <a:p>
            <a:pPr marL="285750" indent="-285750">
              <a:buFontTx/>
              <a:buChar char="-"/>
            </a:pPr>
            <a:r>
              <a:rPr lang="ru-RU" sz="1600" dirty="0" smtClean="0"/>
              <a:t>Управление потоком задач непосредственно связанных с созданием основного или промежуточного полезного результата, обусловленного контрактом</a:t>
            </a:r>
          </a:p>
          <a:p>
            <a:pPr marL="285750" indent="-285750">
              <a:buFontTx/>
              <a:buChar char="-"/>
            </a:pPr>
            <a:r>
              <a:rPr lang="ru-RU" sz="1600" dirty="0" smtClean="0"/>
              <a:t>Контроль движения результатов работ</a:t>
            </a:r>
            <a:endParaRPr lang="ru-RU" sz="1600" dirty="0"/>
          </a:p>
        </p:txBody>
      </p:sp>
      <p:sp>
        <p:nvSpPr>
          <p:cNvPr id="42" name="TextBox 41"/>
          <p:cNvSpPr txBox="1"/>
          <p:nvPr/>
        </p:nvSpPr>
        <p:spPr>
          <a:xfrm>
            <a:off x="4874999" y="4565632"/>
            <a:ext cx="1207767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С</a:t>
            </a:r>
            <a:r>
              <a:rPr lang="ru-RU" dirty="0" smtClean="0"/>
              <a:t>редства</a:t>
            </a:r>
            <a:endParaRPr lang="ru-RU" dirty="0"/>
          </a:p>
        </p:txBody>
      </p:sp>
      <p:sp>
        <p:nvSpPr>
          <p:cNvPr id="43" name="TextBox 42"/>
          <p:cNvSpPr txBox="1"/>
          <p:nvPr/>
        </p:nvSpPr>
        <p:spPr>
          <a:xfrm>
            <a:off x="4722092" y="2606020"/>
            <a:ext cx="1602811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</a:t>
            </a:r>
            <a:r>
              <a:rPr lang="ru-RU" dirty="0" smtClean="0"/>
              <a:t>оординация</a:t>
            </a:r>
            <a:endParaRPr lang="ru-RU" dirty="0"/>
          </a:p>
        </p:txBody>
      </p:sp>
      <p:sp>
        <p:nvSpPr>
          <p:cNvPr id="44" name="TextBox 43"/>
          <p:cNvSpPr txBox="1"/>
          <p:nvPr/>
        </p:nvSpPr>
        <p:spPr>
          <a:xfrm>
            <a:off x="4897900" y="747916"/>
            <a:ext cx="1234249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Р</a:t>
            </a:r>
            <a:r>
              <a:rPr lang="ru-RU" dirty="0" smtClean="0"/>
              <a:t>езультат</a:t>
            </a:r>
            <a:endParaRPr lang="ru-RU" dirty="0"/>
          </a:p>
        </p:txBody>
      </p:sp>
      <p:sp>
        <p:nvSpPr>
          <p:cNvPr id="45" name="TextBox 44"/>
          <p:cNvSpPr txBox="1"/>
          <p:nvPr/>
        </p:nvSpPr>
        <p:spPr>
          <a:xfrm>
            <a:off x="10005194" y="690982"/>
            <a:ext cx="216097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dirty="0" smtClean="0"/>
              <a:t>КПГ – календарный </a:t>
            </a:r>
          </a:p>
          <a:p>
            <a:r>
              <a:rPr lang="ru-RU" sz="1800" dirty="0" smtClean="0"/>
              <a:t>план-график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86623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0046" y="135329"/>
            <a:ext cx="8680327" cy="7731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="1" baseline="0">
                <a:solidFill>
                  <a:srgbClr val="001D4D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bg-BG" dirty="0" smtClean="0"/>
              <a:t>Этап №1. Учет проектов</a:t>
            </a:r>
            <a:endParaRPr lang="ru-RU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2"/>
          </p:nvPr>
        </p:nvSpPr>
        <p:spPr>
          <a:xfrm rot="16200000">
            <a:off x="11296674" y="5580860"/>
            <a:ext cx="1062041" cy="365125"/>
          </a:xfrm>
          <a:prstGeom prst="rect">
            <a:avLst/>
          </a:prstGeom>
        </p:spPr>
        <p:txBody>
          <a:bodyPr/>
          <a:lstStyle/>
          <a:p>
            <a:r>
              <a:rPr lang="bg-BG" dirty="0"/>
              <a:t>стр. </a:t>
            </a:r>
            <a:fld id="{2066355A-084C-D24E-9AD2-7E4FC41EA62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ee4pHeader1"/>
          <p:cNvSpPr txBox="1"/>
          <p:nvPr/>
        </p:nvSpPr>
        <p:spPr>
          <a:xfrm>
            <a:off x="360046" y="1532657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Что необходимо предпринять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29" name="ee4pHeader1"/>
          <p:cNvSpPr txBox="1"/>
          <p:nvPr/>
        </p:nvSpPr>
        <p:spPr>
          <a:xfrm>
            <a:off x="360046" y="682782"/>
            <a:ext cx="11285086" cy="60734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Огромный объем работы - создать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должную культуру в компании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, ввести единый реестр проектов, постоянный пересмотр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иоритетов проектов исходя из ситуации, учредить проектный 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комитет.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улы ресурсов. Планирование </a:t>
            </a:r>
            <a:r>
              <a:rPr lang="ru-RU" sz="1200" dirty="0">
                <a:solidFill>
                  <a:srgbClr val="001D4D"/>
                </a:solidFill>
                <a:latin typeface="Arial" panose="020B0604020202020204" pitchFamily="34" charset="0"/>
              </a:rPr>
              <a:t>проектов и операционной деятельности, приоритезация </a:t>
            </a:r>
            <a:r>
              <a:rPr lang="ru-RU" sz="12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токов исполнения. </a:t>
            </a:r>
            <a:endParaRPr lang="az-Cyrl-AZ" sz="12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0" name="ee4pContent2"/>
          <p:cNvSpPr txBox="1"/>
          <p:nvPr/>
        </p:nvSpPr>
        <p:spPr>
          <a:xfrm>
            <a:off x="231057" y="1865247"/>
            <a:ext cx="5150567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ланировани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роектов, этапов, связанных по входам и выходам задач, закрепление ответственных, расстановка контрольных точек и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дат их контроля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Ролевая модель исполнения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Ввод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данных о статусе исполнения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задач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1" name="ee4pHeader1"/>
          <p:cNvSpPr txBox="1"/>
          <p:nvPr/>
        </p:nvSpPr>
        <p:spPr>
          <a:xfrm>
            <a:off x="360046" y="3681497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Что получит компания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2" name="ee4pContent2"/>
          <p:cNvSpPr txBox="1"/>
          <p:nvPr/>
        </p:nvSpPr>
        <p:spPr>
          <a:xfrm>
            <a:off x="231058" y="3985916"/>
            <a:ext cx="5150566" cy="142100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Истори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прогноз загрузки сотрудников.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ростои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ресурсов (ресурсы без задач)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ланировани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корректировка плана "на лету".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нимание что и почему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не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сделали, куда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и кем был отвлечен ресурс, на какие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задачи</a:t>
            </a: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marL="108000" lvl="1" indent="0">
              <a:buClr>
                <a:schemeClr val="tx2">
                  <a:lumMod val="100000"/>
                </a:schemeClr>
              </a:buClr>
              <a:buSzPct val="100000"/>
              <a:buNone/>
            </a:pPr>
            <a:endParaRPr lang="ru-RU" sz="1400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5" name="ee4pHeader1"/>
          <p:cNvSpPr txBox="1"/>
          <p:nvPr/>
        </p:nvSpPr>
        <p:spPr>
          <a:xfrm>
            <a:off x="5830961" y="1524932"/>
            <a:ext cx="5461015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ую информацию </a:t>
            </a:r>
            <a:r>
              <a:rPr lang="az-Cyrl-AZ" sz="1600" b="1" dirty="0" smtClean="0">
                <a:solidFill>
                  <a:srgbClr val="001D4D"/>
                </a:solidFill>
                <a:latin typeface="Arial" panose="020B0604020202020204" pitchFamily="34" charset="0"/>
              </a:rPr>
              <a:t>получит руководитель</a:t>
            </a:r>
            <a:endParaRPr lang="az-Cyrl-AZ" sz="1600" b="1" dirty="0">
              <a:solidFill>
                <a:srgbClr val="001D4D"/>
              </a:solidFill>
              <a:latin typeface="Arial" panose="020B0604020202020204" pitchFamily="34" charset="0"/>
            </a:endParaRPr>
          </a:p>
        </p:txBody>
      </p:sp>
      <p:sp>
        <p:nvSpPr>
          <p:cNvPr id="36" name="ee4pContent2"/>
          <p:cNvSpPr txBox="1"/>
          <p:nvPr/>
        </p:nvSpPr>
        <p:spPr>
          <a:xfrm>
            <a:off x="5727088" y="1839412"/>
            <a:ext cx="5918044" cy="1536826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Успеваем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/ не успеваем по датам контрольных точек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Общий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темп проекта по контрольным точкам (выставленных на основе экспертной оценки)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Есть ли незадействованные ресурсы, какова их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агрузка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Накопление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корпоративной памяти "как делать". Входы-выходы, "что без чего нельзя сделать". Дает подсказки и информацию для формирования Шаблонов действий, шаблонов процессов</a:t>
            </a:r>
          </a:p>
        </p:txBody>
      </p:sp>
      <p:sp>
        <p:nvSpPr>
          <p:cNvPr id="37" name="ee4pHeader1"/>
          <p:cNvSpPr txBox="1"/>
          <p:nvPr/>
        </p:nvSpPr>
        <p:spPr>
          <a:xfrm>
            <a:off x="6020182" y="3681497"/>
            <a:ext cx="3398314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 управлять</a:t>
            </a:r>
          </a:p>
        </p:txBody>
      </p:sp>
      <p:sp>
        <p:nvSpPr>
          <p:cNvPr id="38" name="ee4pContent2"/>
          <p:cNvSpPr txBox="1"/>
          <p:nvPr/>
        </p:nvSpPr>
        <p:spPr>
          <a:xfrm>
            <a:off x="5891193" y="4105738"/>
            <a:ext cx="5604853" cy="1266195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Изменяя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приоритет проекта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Выделяя дополнительные ресурсы на проект для параллельного исполнения, там, где возможно</a:t>
            </a:r>
          </a:p>
        </p:txBody>
      </p:sp>
      <p:sp>
        <p:nvSpPr>
          <p:cNvPr id="39" name="ee4pHeader1"/>
          <p:cNvSpPr txBox="1"/>
          <p:nvPr/>
        </p:nvSpPr>
        <p:spPr>
          <a:xfrm>
            <a:off x="3368422" y="5649361"/>
            <a:ext cx="4340336" cy="228121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/>
            <a:r>
              <a:rPr lang="az-Cyrl-AZ" sz="1600" b="1" dirty="0">
                <a:solidFill>
                  <a:srgbClr val="001D4D"/>
                </a:solidFill>
                <a:latin typeface="Arial" panose="020B0604020202020204" pitchFamily="34" charset="0"/>
              </a:rPr>
              <a:t>Какая следующая потребность откроется</a:t>
            </a:r>
          </a:p>
        </p:txBody>
      </p:sp>
      <p:sp>
        <p:nvSpPr>
          <p:cNvPr id="40" name="ee4pContent2"/>
          <p:cNvSpPr txBox="1"/>
          <p:nvPr/>
        </p:nvSpPr>
        <p:spPr>
          <a:xfrm>
            <a:off x="360046" y="5953420"/>
            <a:ext cx="9650729" cy="904579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кова трудоемкость? </a:t>
            </a:r>
            <a:r>
              <a:rPr lang="ru-RU" sz="1400" smtClean="0">
                <a:solidFill>
                  <a:srgbClr val="001D4D"/>
                </a:solidFill>
                <a:latin typeface="Arial" panose="020B0604020202020204" pitchFamily="34" charset="0"/>
              </a:rPr>
              <a:t>Где учитывать? </a:t>
            </a:r>
            <a:endParaRPr lang="ru-RU" sz="1400" dirty="0" smtClean="0">
              <a:solidFill>
                <a:srgbClr val="001D4D"/>
              </a:solidFill>
              <a:latin typeface="Arial" panose="020B0604020202020204" pitchFamily="34" charset="0"/>
            </a:endParaRP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Успеваем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ли к сроку? Накладываем трудоемкость чел*час и получаем </a:t>
            </a: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лендарь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Задачи критического пути. Какая задача самая приоритетная из множества? На что сейчас потратить ресурс?</a:t>
            </a:r>
          </a:p>
          <a:p>
            <a:pPr lvl="1">
              <a:buClr>
                <a:schemeClr val="tx2">
                  <a:lumMod val="100000"/>
                </a:schemeClr>
              </a:buClr>
              <a:buSzPct val="100000"/>
            </a:pPr>
            <a:r>
              <a:rPr lang="ru-RU" sz="1400" dirty="0" smtClean="0">
                <a:solidFill>
                  <a:srgbClr val="001D4D"/>
                </a:solidFill>
                <a:latin typeface="Arial" panose="020B0604020202020204" pitchFamily="34" charset="0"/>
              </a:rPr>
              <a:t>Какова </a:t>
            </a:r>
            <a:r>
              <a:rPr lang="ru-RU" sz="1400" dirty="0">
                <a:solidFill>
                  <a:srgbClr val="001D4D"/>
                </a:solidFill>
                <a:latin typeface="Arial" panose="020B0604020202020204" pitchFamily="34" charset="0"/>
              </a:rPr>
              <a:t>эффективность сотрудников? Много или мало, хорошо или плохо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5530708" y="1412737"/>
            <a:ext cx="0" cy="411401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360046" y="3524250"/>
            <a:ext cx="1128508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360046" y="5501348"/>
            <a:ext cx="11285086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360046" y="1412737"/>
            <a:ext cx="1128508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Стрелка вправо 50"/>
          <p:cNvSpPr/>
          <p:nvPr/>
        </p:nvSpPr>
        <p:spPr>
          <a:xfrm rot="5400000">
            <a:off x="2945614" y="3136274"/>
            <a:ext cx="488338" cy="62878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право 53"/>
          <p:cNvSpPr/>
          <p:nvPr/>
        </p:nvSpPr>
        <p:spPr>
          <a:xfrm rot="5400000">
            <a:off x="8212941" y="3251541"/>
            <a:ext cx="488338" cy="628781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право 54"/>
          <p:cNvSpPr/>
          <p:nvPr/>
        </p:nvSpPr>
        <p:spPr>
          <a:xfrm rot="5400000">
            <a:off x="5272401" y="5057543"/>
            <a:ext cx="488338" cy="628781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94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фирменные цвета">
      <a:dk1>
        <a:srgbClr val="001D4D"/>
      </a:dk1>
      <a:lt1>
        <a:srgbClr val="FFFFFF"/>
      </a:lt1>
      <a:dk2>
        <a:srgbClr val="334A71"/>
      </a:dk2>
      <a:lt2>
        <a:srgbClr val="F2F2F2"/>
      </a:lt2>
      <a:accent1>
        <a:srgbClr val="00C9B4"/>
      </a:accent1>
      <a:accent2>
        <a:srgbClr val="F26E4E"/>
      </a:accent2>
      <a:accent3>
        <a:srgbClr val="FFCFB3"/>
      </a:accent3>
      <a:accent4>
        <a:srgbClr val="ACD6CA"/>
      </a:accent4>
      <a:accent5>
        <a:srgbClr val="00C8B3"/>
      </a:accent5>
      <a:accent6>
        <a:srgbClr val="FEDC99"/>
      </a:accent6>
      <a:hlink>
        <a:srgbClr val="00C9B4"/>
      </a:hlink>
      <a:folHlink>
        <a:srgbClr val="F26E4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sharepoint/v3/field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9866</TotalTime>
  <Words>2064</Words>
  <Application>Microsoft Office PowerPoint</Application>
  <PresentationFormat>Широкоэкранный</PresentationFormat>
  <Paragraphs>356</Paragraphs>
  <Slides>14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0" baseType="lpstr">
      <vt:lpstr>Arial</vt:lpstr>
      <vt:lpstr>Calibri</vt:lpstr>
      <vt:lpstr>Trebuchet MS</vt:lpstr>
      <vt:lpstr>Wingdings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Alexey Maslov</cp:lastModifiedBy>
  <cp:revision>388</cp:revision>
  <cp:lastPrinted>2018-10-15T14:57:20Z</cp:lastPrinted>
  <dcterms:created xsi:type="dcterms:W3CDTF">2010-04-12T23:12:02Z</dcterms:created>
  <dcterms:modified xsi:type="dcterms:W3CDTF">2019-06-25T11:13:44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